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1.xml" ContentType="application/vnd.openxmlformats-officedocument.presentationml.tags+xml"/>
  <Override PartName="/ppt/notesSlides/notesSlide4.xml" ContentType="application/vnd.openxmlformats-officedocument.presentationml.notesSlide+xml"/>
  <Override PartName="/ppt/tags/tag2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5" r:id="rId2"/>
  </p:sldMasterIdLst>
  <p:notesMasterIdLst>
    <p:notesMasterId r:id="rId20"/>
  </p:notesMasterIdLst>
  <p:sldIdLst>
    <p:sldId id="806" r:id="rId3"/>
    <p:sldId id="280" r:id="rId4"/>
    <p:sldId id="304" r:id="rId5"/>
    <p:sldId id="302" r:id="rId6"/>
    <p:sldId id="820" r:id="rId7"/>
    <p:sldId id="291" r:id="rId8"/>
    <p:sldId id="795" r:id="rId9"/>
    <p:sldId id="268" r:id="rId10"/>
    <p:sldId id="812" r:id="rId11"/>
    <p:sldId id="301" r:id="rId12"/>
    <p:sldId id="809" r:id="rId13"/>
    <p:sldId id="305" r:id="rId14"/>
    <p:sldId id="293" r:id="rId15"/>
    <p:sldId id="799" r:id="rId16"/>
    <p:sldId id="818" r:id="rId17"/>
    <p:sldId id="811" r:id="rId18"/>
    <p:sldId id="819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16" autoAdjust="0"/>
    <p:restoredTop sz="94660"/>
  </p:normalViewPr>
  <p:slideViewPr>
    <p:cSldViewPr snapToGrid="0">
      <p:cViewPr varScale="1">
        <p:scale>
          <a:sx n="76" d="100"/>
          <a:sy n="76" d="100"/>
        </p:scale>
        <p:origin x="126" y="7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8096BD-D03D-4763-A4EA-013D0CC7A12A}" type="datetimeFigureOut">
              <a:rPr lang="en-GB" smtClean="0"/>
              <a:t>13/04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37C396-0524-4FB6-8607-326A25B9B08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79608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DE4ECD-66E6-4807-94EF-4F0EDF210E2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11572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b="0" i="0">
                <a:solidFill>
                  <a:srgbClr val="333333"/>
                </a:solidFill>
                <a:effectLst/>
                <a:latin typeface="-apple-system"/>
              </a:rPr>
              <a:t>Tmax95 = the mean maximum temperature on days exceeding 95th percentile of summer </a:t>
            </a:r>
            <a:r>
              <a:rPr lang="en-GB" b="0" i="1" err="1">
                <a:solidFill>
                  <a:srgbClr val="333333"/>
                </a:solidFill>
                <a:effectLst/>
                <a:latin typeface="-apple-system"/>
              </a:rPr>
              <a:t>T</a:t>
            </a:r>
            <a:r>
              <a:rPr lang="en-GB" b="0" i="0" baseline="-25000" err="1">
                <a:solidFill>
                  <a:srgbClr val="333333"/>
                </a:solidFill>
                <a:effectLst/>
                <a:latin typeface="-apple-system"/>
              </a:rPr>
              <a:t>max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A905AC-BB5D-9B44-8BAE-C221D8AD393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14065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We have decided to use commonplace as a tool for us with our partners local stories</a:t>
            </a:r>
            <a:endParaRPr lang="en-GB" sz="12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DE4ECD-66E6-4807-94EF-4F0EDF210E2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57484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DE4ECD-66E6-4807-94EF-4F0EDF210E27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52883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B4EA199-BC0D-41CE-B24B-49A92CE280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25496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B4EA199-BC0D-41CE-B24B-49A92CE280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122CE423-27A0-4D3F-8ADB-CD41E074027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6413"/>
          </a:xfrm>
          <a:noFill/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79499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9">
            <a:extLst>
              <a:ext uri="{FF2B5EF4-FFF2-40B4-BE49-F238E27FC236}">
                <a16:creationId xmlns:a16="http://schemas.microsoft.com/office/drawing/2014/main" id="{DA7B6B3C-A702-458E-AA64-B82017733E97}"/>
              </a:ext>
            </a:extLst>
          </p:cNvPr>
          <p:cNvSpPr>
            <a:spLocks/>
          </p:cNvSpPr>
          <p:nvPr userDrawn="1"/>
        </p:nvSpPr>
        <p:spPr bwMode="auto">
          <a:xfrm rot="16200000">
            <a:off x="5122488" y="944407"/>
            <a:ext cx="4271520" cy="5052313"/>
          </a:xfrm>
          <a:custGeom>
            <a:avLst/>
            <a:gdLst>
              <a:gd name="T0" fmla="*/ 0 w 546"/>
              <a:gd name="T1" fmla="*/ 161 h 363"/>
              <a:gd name="T2" fmla="*/ 241 w 546"/>
              <a:gd name="T3" fmla="*/ 351 h 363"/>
              <a:gd name="T4" fmla="*/ 500 w 546"/>
              <a:gd name="T5" fmla="*/ 161 h 363"/>
              <a:gd name="T6" fmla="*/ 0 w 546"/>
              <a:gd name="T7" fmla="*/ 161 h 3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546" h="363">
                <a:moveTo>
                  <a:pt x="0" y="161"/>
                </a:moveTo>
                <a:cubicBezTo>
                  <a:pt x="0" y="161"/>
                  <a:pt x="115" y="340"/>
                  <a:pt x="241" y="351"/>
                </a:cubicBezTo>
                <a:cubicBezTo>
                  <a:pt x="368" y="363"/>
                  <a:pt x="546" y="242"/>
                  <a:pt x="500" y="161"/>
                </a:cubicBezTo>
                <a:cubicBezTo>
                  <a:pt x="454" y="81"/>
                  <a:pt x="46" y="0"/>
                  <a:pt x="0" y="16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32D36E7C-54FA-43FC-9D57-12CAEC1FC17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5998" y="2523743"/>
            <a:ext cx="4785359" cy="3580149"/>
          </a:xfrm>
          <a:prstGeom prst="roundRect">
            <a:avLst>
              <a:gd name="adj" fmla="val 11494"/>
            </a:avLst>
          </a:pr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id-ID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7048B23-CFDF-44D0-8D43-F09CA1B84570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0DDD2CF1-2F88-458F-B5AA-88A297691D5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601" y="257088"/>
            <a:ext cx="1190600" cy="49859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7EE9CCEF-081C-4361-98BA-47F8BBBFC3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1" y="257087"/>
            <a:ext cx="11582400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FF6C957-98B5-4F34-B7AD-004D7B386DE9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0284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CF4903-B80D-476D-8DF0-7685039DBB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843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CF4903-B80D-476D-8DF0-7685039DBB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E20CBAAA-6113-4C11-9363-A7D7CEFCE5C4}"/>
              </a:ext>
            </a:extLst>
          </p:cNvPr>
          <p:cNvSpPr/>
          <p:nvPr userDrawn="1"/>
        </p:nvSpPr>
        <p:spPr>
          <a:xfrm>
            <a:off x="0" y="0"/>
            <a:ext cx="314831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B91E6428-78DF-4252-B17D-6C8B188E5A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46350" y="787078"/>
            <a:ext cx="5128020" cy="5283844"/>
          </a:xfrm>
          <a:prstGeom prst="roundRect">
            <a:avLst>
              <a:gd name="adj" fmla="val 7413"/>
            </a:avLst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6083110-B59B-4C07-9640-717478DA8081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DF9768D-8C30-4A3A-9A8E-34CCE1925B2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601" y="257088"/>
            <a:ext cx="1190600" cy="498598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8AE34F80-8C51-4BE8-8204-B52C6D39FA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753" y="787078"/>
            <a:ext cx="5648447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4085042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0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CF4903-B80D-476D-8DF0-7685039DBB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9865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CF4903-B80D-476D-8DF0-7685039DBB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E20CBAAA-6113-4C11-9363-A7D7CEFCE5C4}"/>
              </a:ext>
            </a:extLst>
          </p:cNvPr>
          <p:cNvSpPr/>
          <p:nvPr userDrawn="1"/>
        </p:nvSpPr>
        <p:spPr>
          <a:xfrm>
            <a:off x="0" y="0"/>
            <a:ext cx="2694215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FEB82A90-1ADF-4FAE-809C-3F00215098B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694215" y="0"/>
            <a:ext cx="3837214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5F3BE00-72D7-4492-ACFE-5FA00191439D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3D3F828-F185-4524-BADD-B5F3B4FBCE9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601" y="257088"/>
            <a:ext cx="1190600" cy="49859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59202F9-AAE1-426C-98FF-DDF62A48D9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88480" y="787078"/>
            <a:ext cx="4998720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4875615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0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CF4903-B80D-476D-8DF0-7685039DBB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84910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CF4903-B80D-476D-8DF0-7685039DBB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B91E6428-78DF-4252-B17D-6C8B188E5A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6088063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8C563DC-1FD4-4A15-A196-1611BF7C68E0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CAAE668-1359-4B83-B28C-6EE2C49CFEF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601" y="257088"/>
            <a:ext cx="1190600" cy="49859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0D1AFD7-6FB0-4409-8B70-AE106C40F58A}"/>
              </a:ext>
            </a:extLst>
          </p:cNvPr>
          <p:cNvSpPr/>
          <p:nvPr userDrawn="1"/>
        </p:nvSpPr>
        <p:spPr>
          <a:xfrm>
            <a:off x="6096001" y="1428984"/>
            <a:ext cx="71120" cy="1218795"/>
          </a:xfrm>
          <a:prstGeom prst="rect">
            <a:avLst/>
          </a:prstGeom>
          <a:solidFill>
            <a:schemeClr val="accent2"/>
          </a:solidFill>
          <a:ln w="381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en-US">
              <a:solidFill>
                <a:schemeClr val="tx1"/>
              </a:solidFill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6795F432-B7BA-4601-BD99-134F9C622F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46787" y="1428984"/>
            <a:ext cx="5540414" cy="1218795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</a:t>
            </a:r>
            <a:br>
              <a:rPr lang="en-US"/>
            </a:br>
            <a:r>
              <a:rPr lang="en-US"/>
              <a:t>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2450518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CF4903-B80D-476D-8DF0-7685039DBB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009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CF4903-B80D-476D-8DF0-7685039DBB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B91E6428-78DF-4252-B17D-6C8B188E5A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03937" y="0"/>
            <a:ext cx="6088063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1398C213-0DAB-4AE4-BA6E-53CD1D9DA69D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E700AE9-8A09-414A-81E0-5EEE82EF5A3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1" y="1428984"/>
            <a:ext cx="5540414" cy="1218795"/>
          </a:xfrm>
        </p:spPr>
        <p:txBody>
          <a:bodyPr vert="horz" wrap="square" lIns="0" tIns="0" rIns="0" bIns="0" anchor="t">
            <a:spAutoFit/>
          </a:bodyPr>
          <a:lstStyle>
            <a:lvl1pPr algn="r"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</a:t>
            </a:r>
            <a:br>
              <a:rPr lang="en-US"/>
            </a:br>
            <a:r>
              <a:rPr lang="en-US"/>
              <a:t>Here</a:t>
            </a:r>
            <a:endParaRPr lang="en-GB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76966A1-3EC0-48D7-ACD2-C08069129F7B}"/>
              </a:ext>
            </a:extLst>
          </p:cNvPr>
          <p:cNvSpPr/>
          <p:nvPr userDrawn="1"/>
        </p:nvSpPr>
        <p:spPr>
          <a:xfrm>
            <a:off x="6052504" y="1428984"/>
            <a:ext cx="71120" cy="1218795"/>
          </a:xfrm>
          <a:prstGeom prst="rect">
            <a:avLst/>
          </a:prstGeom>
          <a:solidFill>
            <a:schemeClr val="accent2"/>
          </a:solidFill>
          <a:ln w="38100">
            <a:noFill/>
          </a:ln>
        </p:spPr>
        <p:txBody>
          <a:bodyPr vert="horz" wrap="square" lIns="91440" tIns="45720" rIns="91440" bIns="45720" rtlCol="0" anchor="ctr">
            <a:noAutofit/>
          </a:bodyPr>
          <a:lstStyle/>
          <a:p>
            <a:pPr lvl="0" indent="0" algn="ctr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4205552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CF4903-B80D-476D-8DF0-7685039DBB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781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CF4903-B80D-476D-8DF0-7685039DBB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B91E6428-78DF-4252-B17D-6C8B188E5A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2000" cy="2222339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txBody>
          <a:bodyPr wrap="square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8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B31DD03-DA4D-427D-81D5-612C0A11BC5B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55CE42F-CF9F-454C-BF84-C774EBD0F7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1" y="2386829"/>
            <a:ext cx="11582400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33468137"/>
      </p:ext>
    </p:extLst>
  </p:cSld>
  <p:clrMapOvr>
    <a:masterClrMapping/>
  </p:clrMapOvr>
  <p:transition spd="slow">
    <p:wip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3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171E6EB-AF1C-4BF1-9280-718377CE93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7763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171E6EB-AF1C-4BF1-9280-718377CE93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32">
            <a:extLst>
              <a:ext uri="{FF2B5EF4-FFF2-40B4-BE49-F238E27FC236}">
                <a16:creationId xmlns:a16="http://schemas.microsoft.com/office/drawing/2014/main" id="{A44E3F0C-A893-435D-97E0-7B8E4C9E1FE2}"/>
              </a:ext>
            </a:extLst>
          </p:cNvPr>
          <p:cNvSpPr>
            <a:spLocks/>
          </p:cNvSpPr>
          <p:nvPr userDrawn="1"/>
        </p:nvSpPr>
        <p:spPr bwMode="auto">
          <a:xfrm>
            <a:off x="4736898" y="0"/>
            <a:ext cx="7455102" cy="5289630"/>
          </a:xfrm>
          <a:custGeom>
            <a:avLst/>
            <a:gdLst>
              <a:gd name="T0" fmla="*/ 297 w 1043"/>
              <a:gd name="T1" fmla="*/ 114 h 507"/>
              <a:gd name="T2" fmla="*/ 763 w 1043"/>
              <a:gd name="T3" fmla="*/ 384 h 507"/>
              <a:gd name="T4" fmla="*/ 1043 w 1043"/>
              <a:gd name="T5" fmla="*/ 0 h 507"/>
              <a:gd name="T6" fmla="*/ 0 w 1043"/>
              <a:gd name="T7" fmla="*/ 0 h 507"/>
              <a:gd name="T8" fmla="*/ 297 w 1043"/>
              <a:gd name="T9" fmla="*/ 114 h 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43" h="507">
                <a:moveTo>
                  <a:pt x="297" y="114"/>
                </a:moveTo>
                <a:cubicBezTo>
                  <a:pt x="519" y="72"/>
                  <a:pt x="416" y="507"/>
                  <a:pt x="763" y="384"/>
                </a:cubicBezTo>
                <a:cubicBezTo>
                  <a:pt x="971" y="311"/>
                  <a:pt x="1030" y="132"/>
                  <a:pt x="1043" y="0"/>
                </a:cubicBezTo>
                <a:cubicBezTo>
                  <a:pt x="0" y="0"/>
                  <a:pt x="0" y="0"/>
                  <a:pt x="0" y="0"/>
                </a:cubicBezTo>
                <a:cubicBezTo>
                  <a:pt x="43" y="85"/>
                  <a:pt x="187" y="134"/>
                  <a:pt x="297" y="11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F28D1BFB-6FBE-4059-A673-F72266E2572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86085" y="931717"/>
            <a:ext cx="2348190" cy="5289630"/>
          </a:xfrm>
          <a:prstGeom prst="roundRect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id-ID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DD15E040-F949-4231-8D54-CAE288698A7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746807" y="2026227"/>
            <a:ext cx="2348190" cy="5289630"/>
          </a:xfrm>
          <a:prstGeom prst="roundRect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id-ID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E3C4B376-170A-45BF-B335-7800EEEE4B1E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902CB073-1526-486A-8F95-24A60BD83D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5272" y="931717"/>
            <a:ext cx="4432097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92908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7DB8020C-6C50-42D0-915C-1508D341DF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291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7DB8020C-6C50-42D0-915C-1508D341DF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Oval 9">
            <a:extLst>
              <a:ext uri="{FF2B5EF4-FFF2-40B4-BE49-F238E27FC236}">
                <a16:creationId xmlns:a16="http://schemas.microsoft.com/office/drawing/2014/main" id="{ACF8133F-34CC-4A45-8147-61C1F4AD0B55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47222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596BDA2-3C73-4824-A6BB-C4C3181D01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1500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596BDA2-3C73-4824-A6BB-C4C3181D01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4381F50-0629-44C9-9656-5A2C821E90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586F0E8-621F-4A98-81C9-001FAD7A5E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F8260B-27FC-441F-A935-28FB3C4610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4F5DF-7D14-43CB-9667-84CE429FEE22}" type="datetimeFigureOut">
              <a:rPr lang="en-US" smtClean="0"/>
              <a:t>4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EFA573-B146-4769-B6F9-AD985F2D91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5B5311-A971-4921-A981-128031E69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4747C-DA70-451F-8004-9291E62110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0596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C92025E-0274-49EB-BDD2-07D796573A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77771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C92025E-0274-49EB-BDD2-07D796573A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tical Title 1">
            <a:extLst>
              <a:ext uri="{FF2B5EF4-FFF2-40B4-BE49-F238E27FC236}">
                <a16:creationId xmlns:a16="http://schemas.microsoft.com/office/drawing/2014/main" id="{5F2A1F4D-A529-400A-B26A-E8CEA1E5B13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EA25BF-FF6B-4793-AC31-CB97BB3AE94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B1E0F6-F9BC-4481-B318-F5FC55D3C2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A4F5DF-7D14-43CB-9667-84CE429FEE22}" type="datetimeFigureOut">
              <a:rPr lang="en-US" smtClean="0"/>
              <a:t>4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D8417E-28F9-4AE5-9AA2-43BF637DAD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B2A290-37D9-4EF0-BDED-B424508519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4747C-DA70-451F-8004-9291E62110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1749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B4EA199-BC0D-41CE-B24B-49A92CE280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9083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B4EA199-BC0D-41CE-B24B-49A92CE280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1247902-D5DB-4482-B816-10AAA0E90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32352" y="2334757"/>
            <a:ext cx="6004048" cy="1754326"/>
          </a:xfrm>
        </p:spPr>
        <p:txBody>
          <a:bodyPr vert="horz" wrap="square" anchor="b">
            <a:spAutoFit/>
          </a:bodyPr>
          <a:lstStyle>
            <a:lvl1pPr algn="l">
              <a:defRPr sz="6000">
                <a:solidFill>
                  <a:srgbClr val="0090B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AD8F35-DDEC-460C-9FB0-6EEDDC7449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32352" y="4181158"/>
            <a:ext cx="6004048" cy="4247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rgbClr val="26B068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14EA2C-BE92-463C-8262-6CE9BEDF4E6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860" y="171194"/>
            <a:ext cx="2705112" cy="1132844"/>
          </a:xfrm>
          <a:prstGeom prst="rect">
            <a:avLst/>
          </a:prstGeom>
        </p:spPr>
      </p:pic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05D0F971-7EEE-4DFC-8021-14BC509E046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444752" y="1408176"/>
            <a:ext cx="4041647" cy="4041647"/>
          </a:xfrm>
          <a:custGeom>
            <a:avLst/>
            <a:gdLst>
              <a:gd name="connsiteX0" fmla="*/ 2020824 w 4041647"/>
              <a:gd name="connsiteY0" fmla="*/ 0 h 4041647"/>
              <a:gd name="connsiteX1" fmla="*/ 4041647 w 4041647"/>
              <a:gd name="connsiteY1" fmla="*/ 2020824 h 4041647"/>
              <a:gd name="connsiteX2" fmla="*/ 2020824 w 4041647"/>
              <a:gd name="connsiteY2" fmla="*/ 4041647 h 4041647"/>
              <a:gd name="connsiteX3" fmla="*/ 0 w 4041647"/>
              <a:gd name="connsiteY3" fmla="*/ 2020824 h 4041647"/>
              <a:gd name="connsiteX4" fmla="*/ 2020824 w 4041647"/>
              <a:gd name="connsiteY4" fmla="*/ 0 h 40416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41647" h="4041647">
                <a:moveTo>
                  <a:pt x="2020824" y="0"/>
                </a:moveTo>
                <a:cubicBezTo>
                  <a:pt x="3136894" y="0"/>
                  <a:pt x="4041647" y="904753"/>
                  <a:pt x="4041647" y="2020824"/>
                </a:cubicBezTo>
                <a:cubicBezTo>
                  <a:pt x="4041647" y="3136894"/>
                  <a:pt x="3136894" y="4041647"/>
                  <a:pt x="2020824" y="4041647"/>
                </a:cubicBezTo>
                <a:cubicBezTo>
                  <a:pt x="904753" y="4041647"/>
                  <a:pt x="0" y="3136894"/>
                  <a:pt x="0" y="2020824"/>
                </a:cubicBezTo>
                <a:cubicBezTo>
                  <a:pt x="0" y="904753"/>
                  <a:pt x="904753" y="0"/>
                  <a:pt x="202082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537469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959345C-ECC3-4BAC-852D-E3E05CC43C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BDCE9D-FFCF-4A53-ACD3-A9B3EEB26DAD}" type="datetimeFigureOut">
              <a:rPr lang="en-GB" smtClean="0"/>
              <a:t>13/04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79F3FFC-627C-45B2-BAAF-AA19BD3D8C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5F2052-468E-4EE4-B90F-12B7720A8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FA5C1-780C-4410-BC27-020CA231D4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490836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v4 2803 AS Powerpoint template5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170" b="24082"/>
          <a:stretch/>
        </p:blipFill>
        <p:spPr>
          <a:xfrm>
            <a:off x="1524000" y="4289615"/>
            <a:ext cx="9144000" cy="7371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148553"/>
            <a:ext cx="10363200" cy="1079305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000" i="0" baseline="0">
                <a:solidFill>
                  <a:srgbClr val="59777D"/>
                </a:solidFill>
              </a:defRPr>
            </a:lvl1pPr>
          </a:lstStyle>
          <a:p>
            <a:pPr algn="ctr"/>
            <a:r>
              <a:rPr lang="en-GB" sz="4100" dirty="0">
                <a:solidFill>
                  <a:srgbClr val="64858B"/>
                </a:solidFill>
                <a:latin typeface="+mj-lt"/>
                <a:cs typeface="Calibri"/>
              </a:rPr>
              <a:t>Mai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28800" y="3243473"/>
            <a:ext cx="8534400" cy="80579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rgbClr val="59777D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ctr"/>
            <a:r>
              <a:rPr lang="en-GB" sz="2800" dirty="0">
                <a:solidFill>
                  <a:srgbClr val="64858B"/>
                </a:solidFill>
                <a:latin typeface="+mn-lt"/>
                <a:cs typeface="Calibri"/>
              </a:rPr>
              <a:t>Secondary Title</a:t>
            </a:r>
          </a:p>
        </p:txBody>
      </p:sp>
      <p:pic>
        <p:nvPicPr>
          <p:cNvPr id="4" name="Picture 3" descr="v4 2803 AS Powerpoint template.jp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30" t="76757" r="230" b="2143"/>
          <a:stretch/>
        </p:blipFill>
        <p:spPr>
          <a:xfrm>
            <a:off x="0" y="4947424"/>
            <a:ext cx="12191361" cy="1929237"/>
          </a:xfrm>
          <a:prstGeom prst="rect">
            <a:avLst/>
          </a:prstGeom>
        </p:spPr>
      </p:pic>
      <p:pic>
        <p:nvPicPr>
          <p:cNvPr id="5" name="Picture 4" descr="v4 2803 AS Powerpoint template.jp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73" t="11100" r="34831" b="66995"/>
          <a:stretch/>
        </p:blipFill>
        <p:spPr>
          <a:xfrm>
            <a:off x="4400978" y="326572"/>
            <a:ext cx="3390045" cy="1869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492541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 userDrawn="1"/>
        </p:nvGrpSpPr>
        <p:grpSpPr>
          <a:xfrm>
            <a:off x="0" y="-1"/>
            <a:ext cx="12192000" cy="1129005"/>
            <a:chOff x="0" y="-1"/>
            <a:chExt cx="12192000" cy="1129005"/>
          </a:xfrm>
        </p:grpSpPr>
        <p:sp>
          <p:nvSpPr>
            <p:cNvPr id="7" name="Rectangle 6"/>
            <p:cNvSpPr/>
            <p:nvPr userDrawn="1"/>
          </p:nvSpPr>
          <p:spPr>
            <a:xfrm>
              <a:off x="0" y="0"/>
              <a:ext cx="10045960" cy="1129004"/>
            </a:xfrm>
            <a:prstGeom prst="rect">
              <a:avLst/>
            </a:prstGeom>
            <a:solidFill>
              <a:srgbClr val="D1DA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0" name="Picture 9" descr="v4 2803 AS Powerpoint template3.jpg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6531" b="83537"/>
            <a:stretch/>
          </p:blipFill>
          <p:spPr>
            <a:xfrm>
              <a:off x="10045959" y="-1"/>
              <a:ext cx="2146041" cy="1129005"/>
            </a:xfrm>
            <a:prstGeom prst="rect">
              <a:avLst/>
            </a:prstGeom>
          </p:spPr>
        </p:pic>
      </p:grp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73698" y="134679"/>
            <a:ext cx="9486122" cy="8552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69796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777D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2" name="Picture 11" descr="v4 2803 AS Powerpoint template5.jp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170" b="24082"/>
          <a:stretch/>
        </p:blipFill>
        <p:spPr>
          <a:xfrm>
            <a:off x="3142863" y="6381881"/>
            <a:ext cx="5906275" cy="476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41784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v4 2803 AS Powerpoint template5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170" b="24082"/>
          <a:stretch/>
        </p:blipFill>
        <p:spPr>
          <a:xfrm>
            <a:off x="3142863" y="6381881"/>
            <a:ext cx="5906275" cy="476119"/>
          </a:xfrm>
          <a:prstGeom prst="rect">
            <a:avLst/>
          </a:prstGeom>
        </p:spPr>
      </p:pic>
      <p:pic>
        <p:nvPicPr>
          <p:cNvPr id="12" name="Picture 11" descr="v4 2803 AS Powerpoint template.jp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73" t="11100" r="34831" b="66995"/>
          <a:stretch/>
        </p:blipFill>
        <p:spPr>
          <a:xfrm>
            <a:off x="10412963" y="177284"/>
            <a:ext cx="1483567" cy="8179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6504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v4 2803 AS Powerpoint template5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170" b="24082"/>
          <a:stretch/>
        </p:blipFill>
        <p:spPr>
          <a:xfrm>
            <a:off x="1524000" y="4289615"/>
            <a:ext cx="9144000" cy="737120"/>
          </a:xfrm>
          <a:prstGeom prst="rect">
            <a:avLst/>
          </a:prstGeom>
        </p:spPr>
      </p:pic>
      <p:pic>
        <p:nvPicPr>
          <p:cNvPr id="4" name="Picture 3" descr="v4 2803 AS Powerpoint template.jp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30" t="76757" r="230" b="2143"/>
          <a:stretch/>
        </p:blipFill>
        <p:spPr>
          <a:xfrm>
            <a:off x="0" y="4947424"/>
            <a:ext cx="12191361" cy="1929237"/>
          </a:xfrm>
          <a:prstGeom prst="rect">
            <a:avLst/>
          </a:prstGeom>
        </p:spPr>
      </p:pic>
      <p:pic>
        <p:nvPicPr>
          <p:cNvPr id="5" name="Picture 4" descr="v4 2803 AS Powerpoint template.jpg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73" t="11100" r="34831" b="66995"/>
          <a:stretch/>
        </p:blipFill>
        <p:spPr>
          <a:xfrm>
            <a:off x="4400978" y="326572"/>
            <a:ext cx="3390045" cy="1869169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3919401" y="2695571"/>
            <a:ext cx="4353198" cy="1263576"/>
            <a:chOff x="2644496" y="2695571"/>
            <a:chExt cx="4353198" cy="1263576"/>
          </a:xfrm>
        </p:grpSpPr>
        <p:pic>
          <p:nvPicPr>
            <p:cNvPr id="6" name="Picture 5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2657196" y="2758222"/>
              <a:ext cx="292100" cy="292100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2644496" y="3217764"/>
              <a:ext cx="317500" cy="254000"/>
            </a:xfrm>
            <a:prstGeom prst="rect">
              <a:avLst/>
            </a:prstGeom>
          </p:spPr>
        </p:pic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2657196" y="3639467"/>
              <a:ext cx="304800" cy="304800"/>
            </a:xfrm>
            <a:prstGeom prst="rect">
              <a:avLst/>
            </a:prstGeom>
          </p:spPr>
        </p:pic>
        <p:sp>
          <p:nvSpPr>
            <p:cNvPr id="10" name="TextBox 9"/>
            <p:cNvSpPr txBox="1"/>
            <p:nvPr userDrawn="1"/>
          </p:nvSpPr>
          <p:spPr>
            <a:xfrm>
              <a:off x="3090638" y="2695571"/>
              <a:ext cx="390705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dirty="0">
                  <a:solidFill>
                    <a:srgbClr val="59777D"/>
                  </a:solidFill>
                </a:rPr>
                <a:t>adaptationscotland@sniffer.org.uk</a:t>
              </a:r>
            </a:p>
          </p:txBody>
        </p:sp>
        <p:sp>
          <p:nvSpPr>
            <p:cNvPr id="11" name="TextBox 10"/>
            <p:cNvSpPr txBox="1"/>
            <p:nvPr userDrawn="1"/>
          </p:nvSpPr>
          <p:spPr>
            <a:xfrm>
              <a:off x="3090638" y="3133524"/>
              <a:ext cx="390705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dirty="0">
                  <a:solidFill>
                    <a:srgbClr val="59777D"/>
                  </a:solidFill>
                </a:rPr>
                <a:t>@adaptationscotland</a:t>
              </a:r>
            </a:p>
          </p:txBody>
        </p:sp>
        <p:sp>
          <p:nvSpPr>
            <p:cNvPr id="12" name="TextBox 11"/>
            <p:cNvSpPr txBox="1"/>
            <p:nvPr userDrawn="1"/>
          </p:nvSpPr>
          <p:spPr>
            <a:xfrm>
              <a:off x="3090638" y="3559037"/>
              <a:ext cx="3907056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2000" dirty="0">
                  <a:solidFill>
                    <a:srgbClr val="59777D"/>
                  </a:solidFill>
                </a:rPr>
                <a:t>www.adaptationscotland.org.u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9305725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6E4EBA-7894-A545-93FE-6DE8CAA3C6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4CA3CCD-5E18-AF47-A72B-704DA0754C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8209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327707-6209-3944-823F-AB641238C3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96D90A-3D96-CD46-AE24-4BE716CC67D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988588-DD9F-3C44-A273-0915BD0A006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A66CD51-9E7F-4C5E-AEFF-FBE1B533E02C}" type="datetime1">
              <a:rPr lang="en-US" smtClean="0"/>
              <a:t>4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53175CC-41C3-E44A-A1BD-9D1F3A3088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BF604B-98A5-F94B-88AB-456E93DC62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8C11039-C51A-704F-AC06-21F40AD080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9114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FDF3C8-92A8-0B48-9A37-04E37492A3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E023DA-4309-CB44-B43F-09751945A37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7" name="Picture 6"/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9308" y="131846"/>
            <a:ext cx="1671205" cy="6529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330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D13076-2084-CC46-BA35-1A07203BE7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D667F8-455E-0145-8252-75EE57B9D1B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6D20191-B050-9D4F-9DF1-ACA68534F0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36772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B1A7F2-4685-4341-8E39-2FC736028A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AED709F-7F23-B542-86FD-9E02A9155B8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A6A2FB-55D0-494F-B305-C59A6864792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5165BCF-0975-5746-83B7-76A5C37BA26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72C047B-7826-124C-B08A-DD340F52F27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7451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0090B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B4EA199-BC0D-41CE-B24B-49A92CE280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4773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B4EA199-BC0D-41CE-B24B-49A92CE280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1247902-D5DB-4482-B816-10AAA0E90E0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58112" y="3513317"/>
            <a:ext cx="6004048" cy="1754326"/>
          </a:xfrm>
        </p:spPr>
        <p:txBody>
          <a:bodyPr vert="horz" wrap="square" anchor="b">
            <a:spAutoFit/>
          </a:bodyPr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AD8F35-DDEC-460C-9FB0-6EEDDC7449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658112" y="5359718"/>
            <a:ext cx="6004048" cy="424732"/>
          </a:xfrm>
        </p:spPr>
        <p:txBody>
          <a:bodyPr wrap="square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14EA2C-BE92-463C-8262-6CE9BEDF4E6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1820" y="841754"/>
            <a:ext cx="2705112" cy="1132844"/>
          </a:xfrm>
          <a:prstGeom prst="rect">
            <a:avLst/>
          </a:prstGeom>
        </p:spPr>
      </p:pic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0AB72B5-BAD3-4B3F-A678-BECF151A58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12192000" cy="6705600"/>
          </a:xfrm>
          <a:custGeom>
            <a:avLst/>
            <a:gdLst>
              <a:gd name="connsiteX0" fmla="*/ 0 w 12192000"/>
              <a:gd name="connsiteY0" fmla="*/ 0 h 6705600"/>
              <a:gd name="connsiteX1" fmla="*/ 12192000 w 12192000"/>
              <a:gd name="connsiteY1" fmla="*/ 0 h 6705600"/>
              <a:gd name="connsiteX2" fmla="*/ 12192000 w 12192000"/>
              <a:gd name="connsiteY2" fmla="*/ 1409788 h 6705600"/>
              <a:gd name="connsiteX3" fmla="*/ 12101679 w 12192000"/>
              <a:gd name="connsiteY3" fmla="*/ 1493419 h 6705600"/>
              <a:gd name="connsiteX4" fmla="*/ 10944499 w 12192000"/>
              <a:gd name="connsiteY4" fmla="*/ 2829593 h 6705600"/>
              <a:gd name="connsiteX5" fmla="*/ 8968146 w 12192000"/>
              <a:gd name="connsiteY5" fmla="*/ 2975613 h 6705600"/>
              <a:gd name="connsiteX6" fmla="*/ 7261292 w 12192000"/>
              <a:gd name="connsiteY6" fmla="*/ 1671870 h 6705600"/>
              <a:gd name="connsiteX7" fmla="*/ 6901955 w 12192000"/>
              <a:gd name="connsiteY7" fmla="*/ 1463270 h 6705600"/>
              <a:gd name="connsiteX8" fmla="*/ 6246164 w 12192000"/>
              <a:gd name="connsiteY8" fmla="*/ 2297666 h 6705600"/>
              <a:gd name="connsiteX9" fmla="*/ 5105269 w 12192000"/>
              <a:gd name="connsiteY9" fmla="*/ 2182937 h 6705600"/>
              <a:gd name="connsiteX10" fmla="*/ 3631986 w 12192000"/>
              <a:gd name="connsiteY10" fmla="*/ 2714864 h 6705600"/>
              <a:gd name="connsiteX11" fmla="*/ 2850426 w 12192000"/>
              <a:gd name="connsiteY11" fmla="*/ 4321075 h 6705600"/>
              <a:gd name="connsiteX12" fmla="*/ 2571940 w 12192000"/>
              <a:gd name="connsiteY12" fmla="*/ 5145041 h 6705600"/>
              <a:gd name="connsiteX13" fmla="*/ 1161541 w 12192000"/>
              <a:gd name="connsiteY13" fmla="*/ 5927288 h 6705600"/>
              <a:gd name="connsiteX14" fmla="*/ 36804 w 12192000"/>
              <a:gd name="connsiteY14" fmla="*/ 6637376 h 6705600"/>
              <a:gd name="connsiteX15" fmla="*/ 0 w 12192000"/>
              <a:gd name="connsiteY15" fmla="*/ 6705600 h 670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2000" h="6705600">
                <a:moveTo>
                  <a:pt x="0" y="0"/>
                </a:moveTo>
                <a:lnTo>
                  <a:pt x="12192000" y="0"/>
                </a:lnTo>
                <a:lnTo>
                  <a:pt x="12192000" y="1409788"/>
                </a:lnTo>
                <a:lnTo>
                  <a:pt x="12101679" y="1493419"/>
                </a:lnTo>
                <a:cubicBezTo>
                  <a:pt x="11695740" y="1894809"/>
                  <a:pt x="11395917" y="2485405"/>
                  <a:pt x="10944499" y="2829593"/>
                </a:cubicBezTo>
                <a:cubicBezTo>
                  <a:pt x="10369560" y="3257221"/>
                  <a:pt x="9614951" y="3246792"/>
                  <a:pt x="8968146" y="2975613"/>
                </a:cubicBezTo>
                <a:cubicBezTo>
                  <a:pt x="8330322" y="2694004"/>
                  <a:pt x="7782330" y="2193366"/>
                  <a:pt x="7261292" y="1671870"/>
                </a:cubicBezTo>
                <a:cubicBezTo>
                  <a:pt x="7162474" y="1567569"/>
                  <a:pt x="7045691" y="1463270"/>
                  <a:pt x="6901955" y="1463270"/>
                </a:cubicBezTo>
                <a:cubicBezTo>
                  <a:pt x="6569567" y="1463270"/>
                  <a:pt x="6515668" y="2057777"/>
                  <a:pt x="6246164" y="2297666"/>
                </a:cubicBezTo>
                <a:cubicBezTo>
                  <a:pt x="5931745" y="2579275"/>
                  <a:pt x="5491555" y="2287235"/>
                  <a:pt x="5105269" y="2182937"/>
                </a:cubicBezTo>
                <a:cubicBezTo>
                  <a:pt x="4584230" y="2036917"/>
                  <a:pt x="4018272" y="2287235"/>
                  <a:pt x="3631986" y="2714864"/>
                </a:cubicBezTo>
                <a:cubicBezTo>
                  <a:pt x="3245698" y="3142491"/>
                  <a:pt x="3003145" y="3726568"/>
                  <a:pt x="2850426" y="4321075"/>
                </a:cubicBezTo>
                <a:cubicBezTo>
                  <a:pt x="2778558" y="4602684"/>
                  <a:pt x="2724659" y="4894723"/>
                  <a:pt x="2571940" y="5145041"/>
                </a:cubicBezTo>
                <a:cubicBezTo>
                  <a:pt x="2266503" y="5656109"/>
                  <a:pt x="1682580" y="5781268"/>
                  <a:pt x="1161541" y="5927288"/>
                </a:cubicBezTo>
                <a:cubicBezTo>
                  <a:pt x="738196" y="6045929"/>
                  <a:pt x="273338" y="6247194"/>
                  <a:pt x="36804" y="6637376"/>
                </a:cubicBezTo>
                <a:lnTo>
                  <a:pt x="0" y="6705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l">
              <a:buNone/>
              <a:defRPr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783916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D55AF3-66EF-EE42-A711-983750B9C0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74216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51631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887DEC-8E55-2B40-BB77-574A9770D0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BDAD46-A271-864C-A065-D244928A7F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EE80EA2-5DA3-354E-926E-D141FD72FD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18336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DE65AF-629B-1541-A05B-BF0349A7D2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11C6304-0713-D344-9FF8-76AE0FA31B8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89BD31-97E6-6F4B-97C9-807FC42052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01805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E64EBD-88D4-BC44-ADDE-85D66FE42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E3F805-AB54-5247-9008-02559682B8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722514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6107A27-9F8A-9E43-B11F-662E84CBB67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998257-2ACA-3643-8F7C-0EEFC2566E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0267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5A0DE52-639B-4938-8370-27B113A9EFD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4721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5A0DE52-639B-4938-8370-27B113A9EF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>
            <a:extLst>
              <a:ext uri="{FF2B5EF4-FFF2-40B4-BE49-F238E27FC236}">
                <a16:creationId xmlns:a16="http://schemas.microsoft.com/office/drawing/2014/main" id="{2FCDAE62-A8AF-4A45-82F1-F4532F554133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6D77E70-223B-4902-9CB8-0AF37D67A9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1" y="257087"/>
            <a:ext cx="11582400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B904B001-EB6C-4ECD-8D01-2777B2758392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2862AA4E-A07A-4A96-B1AC-E5BC59CB47F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601" y="257088"/>
            <a:ext cx="1190600" cy="498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18544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E2C88BA-4736-4828-9808-FCA54593AF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2465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E2C88BA-4736-4828-9808-FCA54593AF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B57AF70B-7F88-467B-8A33-C11AEF0367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8649" y="2544219"/>
            <a:ext cx="5406407" cy="3277846"/>
          </a:xfrm>
        </p:spPr>
        <p:txBody>
          <a:bodyPr>
            <a:normAutofit/>
          </a:bodyPr>
          <a:lstStyle>
            <a:lvl1pPr>
              <a:defRPr sz="1800"/>
            </a:lvl1pPr>
            <a:lvl2pPr marL="549275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3912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538163" lvl="1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entury Gothic" panose="020B0502020202020204" pitchFamily="34" charset="0"/>
              <a:buChar char="–"/>
              <a:tabLst/>
            </a:pPr>
            <a:r>
              <a:rPr lang="en-US"/>
              <a:t>Second level</a:t>
            </a:r>
          </a:p>
          <a:p>
            <a:pPr marL="803275" lvl="2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2FFF02CC-7FB0-4D25-AEDD-838670710D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56943" y="2544219"/>
            <a:ext cx="5406407" cy="3277846"/>
          </a:xfrm>
        </p:spPr>
        <p:txBody>
          <a:bodyPr>
            <a:normAutofit/>
          </a:bodyPr>
          <a:lstStyle>
            <a:lvl1pPr>
              <a:defRPr sz="1800"/>
            </a:lvl1pPr>
            <a:lvl2pPr marL="549275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3912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538163" lvl="1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entury Gothic" panose="020B0502020202020204" pitchFamily="34" charset="0"/>
              <a:buChar char="–"/>
              <a:tabLst/>
            </a:pPr>
            <a:r>
              <a:rPr lang="en-US"/>
              <a:t>Second level</a:t>
            </a:r>
          </a:p>
          <a:p>
            <a:pPr marL="803275" lvl="2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008BF6D-DF0C-4195-A085-2F5E63A614A0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099F2B-DB2D-4AB9-A1FD-A1EDE1B1006C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255015C-5BC8-4639-B74C-295653A1828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601" y="257088"/>
            <a:ext cx="1190600" cy="498598"/>
          </a:xfrm>
          <a:prstGeom prst="rect">
            <a:avLst/>
          </a:prstGeom>
        </p:spPr>
      </p:pic>
      <p:sp>
        <p:nvSpPr>
          <p:cNvPr id="21" name="Title 1">
            <a:extLst>
              <a:ext uri="{FF2B5EF4-FFF2-40B4-BE49-F238E27FC236}">
                <a16:creationId xmlns:a16="http://schemas.microsoft.com/office/drawing/2014/main" id="{547CAC2A-99C0-4805-BFE0-5D4ADFBEC9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1" y="257087"/>
            <a:ext cx="11582400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0218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E2C88BA-4736-4828-9808-FCA54593AF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0951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E2C88BA-4736-4828-9808-FCA54593AF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22">
            <a:extLst>
              <a:ext uri="{FF2B5EF4-FFF2-40B4-BE49-F238E27FC236}">
                <a16:creationId xmlns:a16="http://schemas.microsoft.com/office/drawing/2014/main" id="{080E3DDE-6E2C-43F5-959E-632D4AA207F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8649" y="2544219"/>
            <a:ext cx="3512197" cy="3277846"/>
          </a:xfrm>
        </p:spPr>
        <p:txBody>
          <a:bodyPr>
            <a:normAutofit/>
          </a:bodyPr>
          <a:lstStyle>
            <a:lvl1pPr>
              <a:defRPr sz="1800"/>
            </a:lvl1pPr>
            <a:lvl2pPr marL="549275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3912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538163" lvl="1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entury Gothic" panose="020B0502020202020204" pitchFamily="34" charset="0"/>
              <a:buChar char="–"/>
              <a:tabLst/>
            </a:pPr>
            <a:r>
              <a:rPr lang="en-US"/>
              <a:t>Second level</a:t>
            </a:r>
          </a:p>
          <a:p>
            <a:pPr marL="803275" lvl="2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008BF6D-DF0C-4195-A085-2F5E63A614A0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8099F2B-DB2D-4AB9-A1FD-A1EDE1B1006C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255015C-5BC8-4639-B74C-295653A1828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601" y="257088"/>
            <a:ext cx="1190600" cy="498598"/>
          </a:xfrm>
          <a:prstGeom prst="rect">
            <a:avLst/>
          </a:prstGeom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id="{B0B8A70C-49D1-4D01-9A1A-6D0791A4B0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1" y="257087"/>
            <a:ext cx="11582400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  <p:sp>
        <p:nvSpPr>
          <p:cNvPr id="19" name="Text Placeholder 22">
            <a:extLst>
              <a:ext uri="{FF2B5EF4-FFF2-40B4-BE49-F238E27FC236}">
                <a16:creationId xmlns:a16="http://schemas.microsoft.com/office/drawing/2014/main" id="{472DDF0A-16E0-45ED-9157-2C4535DE1D3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39902" y="2544219"/>
            <a:ext cx="3512197" cy="3277846"/>
          </a:xfrm>
        </p:spPr>
        <p:txBody>
          <a:bodyPr>
            <a:normAutofit/>
          </a:bodyPr>
          <a:lstStyle>
            <a:lvl1pPr>
              <a:defRPr sz="1800"/>
            </a:lvl1pPr>
            <a:lvl2pPr marL="549275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3912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538163" lvl="1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entury Gothic" panose="020B0502020202020204" pitchFamily="34" charset="0"/>
              <a:buChar char="–"/>
              <a:tabLst/>
            </a:pPr>
            <a:r>
              <a:rPr lang="en-US"/>
              <a:t>Second level</a:t>
            </a:r>
          </a:p>
          <a:p>
            <a:pPr marL="803275" lvl="2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</p:txBody>
      </p:sp>
      <p:sp>
        <p:nvSpPr>
          <p:cNvPr id="21" name="Text Placeholder 22">
            <a:extLst>
              <a:ext uri="{FF2B5EF4-FFF2-40B4-BE49-F238E27FC236}">
                <a16:creationId xmlns:a16="http://schemas.microsoft.com/office/drawing/2014/main" id="{7CF2B593-AAE1-4D9D-AB91-B5D3EC8DE7F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51153" y="2544219"/>
            <a:ext cx="3512197" cy="3277846"/>
          </a:xfrm>
        </p:spPr>
        <p:txBody>
          <a:bodyPr>
            <a:normAutofit/>
          </a:bodyPr>
          <a:lstStyle>
            <a:lvl1pPr>
              <a:defRPr sz="1800"/>
            </a:lvl1pPr>
            <a:lvl2pPr marL="549275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3912" indent="-285750">
              <a:defRPr lang="en-US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538163" lvl="1" indent="-2746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entury Gothic" panose="020B0502020202020204" pitchFamily="34" charset="0"/>
              <a:buChar char="–"/>
              <a:tabLst/>
            </a:pPr>
            <a:r>
              <a:rPr lang="en-US"/>
              <a:t>Second level</a:t>
            </a:r>
          </a:p>
          <a:p>
            <a:pPr marL="803275" lvl="2" indent="-2651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06764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1A7CBB6-F2AF-456B-8F38-7F59C46914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6159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1A7CBB6-F2AF-456B-8F38-7F59C46914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056C9989-A508-464A-B9B7-F9E46449A2A1}"/>
              </a:ext>
            </a:extLst>
          </p:cNvPr>
          <p:cNvSpPr>
            <a:spLocks/>
          </p:cNvSpPr>
          <p:nvPr userDrawn="1"/>
        </p:nvSpPr>
        <p:spPr bwMode="auto">
          <a:xfrm flipH="1" flipV="1">
            <a:off x="9470155" y="6164026"/>
            <a:ext cx="2721845" cy="693974"/>
          </a:xfrm>
          <a:custGeom>
            <a:avLst/>
            <a:gdLst>
              <a:gd name="connsiteX0" fmla="*/ 699655 w 2721845"/>
              <a:gd name="connsiteY0" fmla="*/ 693886 h 693974"/>
              <a:gd name="connsiteX1" fmla="*/ 0 w 2721845"/>
              <a:gd name="connsiteY1" fmla="*/ 539760 h 693974"/>
              <a:gd name="connsiteX2" fmla="*/ 0 w 2721845"/>
              <a:gd name="connsiteY2" fmla="*/ 138330 h 693974"/>
              <a:gd name="connsiteX3" fmla="*/ 0 w 2721845"/>
              <a:gd name="connsiteY3" fmla="*/ 0 h 693974"/>
              <a:gd name="connsiteX4" fmla="*/ 2721845 w 2721845"/>
              <a:gd name="connsiteY4" fmla="*/ 0 h 693974"/>
              <a:gd name="connsiteX5" fmla="*/ 2713212 w 2721845"/>
              <a:gd name="connsiteY5" fmla="*/ 2584 h 693974"/>
              <a:gd name="connsiteX6" fmla="*/ 2180075 w 2721845"/>
              <a:gd name="connsiteY6" fmla="*/ 235519 h 693974"/>
              <a:gd name="connsiteX7" fmla="*/ 699655 w 2721845"/>
              <a:gd name="connsiteY7" fmla="*/ 693886 h 693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21845" h="693974">
                <a:moveTo>
                  <a:pt x="699655" y="693886"/>
                </a:moveTo>
                <a:cubicBezTo>
                  <a:pt x="470356" y="691616"/>
                  <a:pt x="237654" y="645399"/>
                  <a:pt x="0" y="539760"/>
                </a:cubicBezTo>
                <a:cubicBezTo>
                  <a:pt x="0" y="404541"/>
                  <a:pt x="0" y="269323"/>
                  <a:pt x="0" y="138330"/>
                </a:cubicBezTo>
                <a:lnTo>
                  <a:pt x="0" y="0"/>
                </a:lnTo>
                <a:lnTo>
                  <a:pt x="2721845" y="0"/>
                </a:lnTo>
                <a:lnTo>
                  <a:pt x="2713212" y="2584"/>
                </a:lnTo>
                <a:cubicBezTo>
                  <a:pt x="2534971" y="64383"/>
                  <a:pt x="2357523" y="142556"/>
                  <a:pt x="2180075" y="235519"/>
                </a:cubicBezTo>
                <a:cubicBezTo>
                  <a:pt x="1692094" y="491166"/>
                  <a:pt x="1204112" y="698879"/>
                  <a:pt x="699655" y="69388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D12653E5-438F-4366-B7AE-10AF704DA0BB}"/>
              </a:ext>
            </a:extLst>
          </p:cNvPr>
          <p:cNvSpPr>
            <a:spLocks/>
          </p:cNvSpPr>
          <p:nvPr userDrawn="1"/>
        </p:nvSpPr>
        <p:spPr bwMode="auto">
          <a:xfrm>
            <a:off x="3048" y="0"/>
            <a:ext cx="12188952" cy="2604655"/>
          </a:xfrm>
          <a:custGeom>
            <a:avLst/>
            <a:gdLst>
              <a:gd name="connsiteX0" fmla="*/ 0 w 12188952"/>
              <a:gd name="connsiteY0" fmla="*/ 0 h 2604655"/>
              <a:gd name="connsiteX1" fmla="*/ 12188952 w 12188952"/>
              <a:gd name="connsiteY1" fmla="*/ 0 h 2604655"/>
              <a:gd name="connsiteX2" fmla="*/ 12188952 w 12188952"/>
              <a:gd name="connsiteY2" fmla="*/ 236255 h 2604655"/>
              <a:gd name="connsiteX3" fmla="*/ 12188952 w 12188952"/>
              <a:gd name="connsiteY3" fmla="*/ 278500 h 2604655"/>
              <a:gd name="connsiteX4" fmla="*/ 11818038 w 12188952"/>
              <a:gd name="connsiteY4" fmla="*/ 231695 h 2604655"/>
              <a:gd name="connsiteX5" fmla="*/ 10693553 w 12188952"/>
              <a:gd name="connsiteY5" fmla="*/ 176063 h 2604655"/>
              <a:gd name="connsiteX6" fmla="*/ 6388060 w 12188952"/>
              <a:gd name="connsiteY6" fmla="*/ 1172542 h 2604655"/>
              <a:gd name="connsiteX7" fmla="*/ 6369388 w 12188952"/>
              <a:gd name="connsiteY7" fmla="*/ 1184797 h 2604655"/>
              <a:gd name="connsiteX8" fmla="*/ 6094476 w 12188952"/>
              <a:gd name="connsiteY8" fmla="*/ 1323027 h 2604655"/>
              <a:gd name="connsiteX9" fmla="*/ 0 w 12188952"/>
              <a:gd name="connsiteY9" fmla="*/ 2173544 h 2604655"/>
              <a:gd name="connsiteX10" fmla="*/ 0 w 12188952"/>
              <a:gd name="connsiteY10" fmla="*/ 0 h 2604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88952" h="2604655">
                <a:moveTo>
                  <a:pt x="0" y="0"/>
                </a:moveTo>
                <a:cubicBezTo>
                  <a:pt x="4110230" y="0"/>
                  <a:pt x="8078725" y="0"/>
                  <a:pt x="12188952" y="0"/>
                </a:cubicBezTo>
                <a:cubicBezTo>
                  <a:pt x="12188952" y="94502"/>
                  <a:pt x="12188952" y="165378"/>
                  <a:pt x="12188952" y="236255"/>
                </a:cubicBezTo>
                <a:lnTo>
                  <a:pt x="12188952" y="278500"/>
                </a:lnTo>
                <a:lnTo>
                  <a:pt x="11818038" y="231695"/>
                </a:lnTo>
                <a:cubicBezTo>
                  <a:pt x="11454819" y="195219"/>
                  <a:pt x="11078744" y="176063"/>
                  <a:pt x="10693553" y="176063"/>
                </a:cubicBezTo>
                <a:cubicBezTo>
                  <a:pt x="8960192" y="176063"/>
                  <a:pt x="7411441" y="563967"/>
                  <a:pt x="6388060" y="1172542"/>
                </a:cubicBezTo>
                <a:lnTo>
                  <a:pt x="6369388" y="1184797"/>
                </a:lnTo>
                <a:lnTo>
                  <a:pt x="6094476" y="1323027"/>
                </a:lnTo>
                <a:cubicBezTo>
                  <a:pt x="4110230" y="2362548"/>
                  <a:pt x="2125981" y="3118563"/>
                  <a:pt x="0" y="2173544"/>
                </a:cubicBezTo>
                <a:cubicBezTo>
                  <a:pt x="0" y="1417529"/>
                  <a:pt x="0" y="661513"/>
                  <a:pt x="0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Picture Placeholder 11">
            <a:extLst>
              <a:ext uri="{FF2B5EF4-FFF2-40B4-BE49-F238E27FC236}">
                <a16:creationId xmlns:a16="http://schemas.microsoft.com/office/drawing/2014/main" id="{5C186062-0596-4E5C-8ED1-1E1B88580A0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22351" y="778885"/>
            <a:ext cx="2580704" cy="2580704"/>
          </a:xfrm>
          <a:custGeom>
            <a:avLst/>
            <a:gdLst>
              <a:gd name="connsiteX0" fmla="*/ 553019 w 2580704"/>
              <a:gd name="connsiteY0" fmla="*/ 0 h 2580704"/>
              <a:gd name="connsiteX1" fmla="*/ 2027685 w 2580704"/>
              <a:gd name="connsiteY1" fmla="*/ 0 h 2580704"/>
              <a:gd name="connsiteX2" fmla="*/ 2580704 w 2580704"/>
              <a:gd name="connsiteY2" fmla="*/ 553019 h 2580704"/>
              <a:gd name="connsiteX3" fmla="*/ 2580704 w 2580704"/>
              <a:gd name="connsiteY3" fmla="*/ 2027685 h 2580704"/>
              <a:gd name="connsiteX4" fmla="*/ 2027685 w 2580704"/>
              <a:gd name="connsiteY4" fmla="*/ 2580704 h 2580704"/>
              <a:gd name="connsiteX5" fmla="*/ 553019 w 2580704"/>
              <a:gd name="connsiteY5" fmla="*/ 2580704 h 2580704"/>
              <a:gd name="connsiteX6" fmla="*/ 0 w 2580704"/>
              <a:gd name="connsiteY6" fmla="*/ 2027685 h 2580704"/>
              <a:gd name="connsiteX7" fmla="*/ 0 w 2580704"/>
              <a:gd name="connsiteY7" fmla="*/ 553019 h 2580704"/>
              <a:gd name="connsiteX8" fmla="*/ 553019 w 2580704"/>
              <a:gd name="connsiteY8" fmla="*/ 0 h 2580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80704" h="2580704">
                <a:moveTo>
                  <a:pt x="553019" y="0"/>
                </a:moveTo>
                <a:lnTo>
                  <a:pt x="2027685" y="0"/>
                </a:lnTo>
                <a:cubicBezTo>
                  <a:pt x="2333109" y="0"/>
                  <a:pt x="2580704" y="247595"/>
                  <a:pt x="2580704" y="553019"/>
                </a:cubicBezTo>
                <a:lnTo>
                  <a:pt x="2580704" y="2027685"/>
                </a:lnTo>
                <a:cubicBezTo>
                  <a:pt x="2580704" y="2333109"/>
                  <a:pt x="2333109" y="2580704"/>
                  <a:pt x="2027685" y="2580704"/>
                </a:cubicBezTo>
                <a:lnTo>
                  <a:pt x="553019" y="2580704"/>
                </a:lnTo>
                <a:cubicBezTo>
                  <a:pt x="247595" y="2580704"/>
                  <a:pt x="0" y="2333109"/>
                  <a:pt x="0" y="2027685"/>
                </a:cubicBezTo>
                <a:lnTo>
                  <a:pt x="0" y="553019"/>
                </a:lnTo>
                <a:cubicBezTo>
                  <a:pt x="0" y="247595"/>
                  <a:pt x="247595" y="0"/>
                  <a:pt x="553019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id-ID"/>
          </a:p>
        </p:txBody>
      </p:sp>
      <p:sp>
        <p:nvSpPr>
          <p:cNvPr id="11" name="Picture Placeholder 14">
            <a:extLst>
              <a:ext uri="{FF2B5EF4-FFF2-40B4-BE49-F238E27FC236}">
                <a16:creationId xmlns:a16="http://schemas.microsoft.com/office/drawing/2014/main" id="{7DC5672A-A198-4EB1-928E-2AB555C6FAE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31551" y="778885"/>
            <a:ext cx="2580704" cy="2580704"/>
          </a:xfrm>
          <a:custGeom>
            <a:avLst/>
            <a:gdLst>
              <a:gd name="connsiteX0" fmla="*/ 553019 w 2580704"/>
              <a:gd name="connsiteY0" fmla="*/ 0 h 2580704"/>
              <a:gd name="connsiteX1" fmla="*/ 2027685 w 2580704"/>
              <a:gd name="connsiteY1" fmla="*/ 0 h 2580704"/>
              <a:gd name="connsiteX2" fmla="*/ 2580704 w 2580704"/>
              <a:gd name="connsiteY2" fmla="*/ 553019 h 2580704"/>
              <a:gd name="connsiteX3" fmla="*/ 2580704 w 2580704"/>
              <a:gd name="connsiteY3" fmla="*/ 2027685 h 2580704"/>
              <a:gd name="connsiteX4" fmla="*/ 2027685 w 2580704"/>
              <a:gd name="connsiteY4" fmla="*/ 2580704 h 2580704"/>
              <a:gd name="connsiteX5" fmla="*/ 553019 w 2580704"/>
              <a:gd name="connsiteY5" fmla="*/ 2580704 h 2580704"/>
              <a:gd name="connsiteX6" fmla="*/ 0 w 2580704"/>
              <a:gd name="connsiteY6" fmla="*/ 2027685 h 2580704"/>
              <a:gd name="connsiteX7" fmla="*/ 0 w 2580704"/>
              <a:gd name="connsiteY7" fmla="*/ 553019 h 2580704"/>
              <a:gd name="connsiteX8" fmla="*/ 553019 w 2580704"/>
              <a:gd name="connsiteY8" fmla="*/ 0 h 2580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80704" h="2580704">
                <a:moveTo>
                  <a:pt x="553019" y="0"/>
                </a:moveTo>
                <a:lnTo>
                  <a:pt x="2027685" y="0"/>
                </a:lnTo>
                <a:cubicBezTo>
                  <a:pt x="2333109" y="0"/>
                  <a:pt x="2580704" y="247595"/>
                  <a:pt x="2580704" y="553019"/>
                </a:cubicBezTo>
                <a:lnTo>
                  <a:pt x="2580704" y="2027685"/>
                </a:lnTo>
                <a:cubicBezTo>
                  <a:pt x="2580704" y="2333109"/>
                  <a:pt x="2333109" y="2580704"/>
                  <a:pt x="2027685" y="2580704"/>
                </a:cubicBezTo>
                <a:lnTo>
                  <a:pt x="553019" y="2580704"/>
                </a:lnTo>
                <a:cubicBezTo>
                  <a:pt x="247595" y="2580704"/>
                  <a:pt x="0" y="2333109"/>
                  <a:pt x="0" y="2027685"/>
                </a:cubicBezTo>
                <a:lnTo>
                  <a:pt x="0" y="553019"/>
                </a:lnTo>
                <a:cubicBezTo>
                  <a:pt x="0" y="247595"/>
                  <a:pt x="247595" y="0"/>
                  <a:pt x="553019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id-ID"/>
          </a:p>
        </p:txBody>
      </p:sp>
      <p:sp>
        <p:nvSpPr>
          <p:cNvPr id="12" name="Picture Placeholder 17">
            <a:extLst>
              <a:ext uri="{FF2B5EF4-FFF2-40B4-BE49-F238E27FC236}">
                <a16:creationId xmlns:a16="http://schemas.microsoft.com/office/drawing/2014/main" id="{D3C7E9A6-16B6-408A-92D2-5BCC75E68B4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22352" y="3516699"/>
            <a:ext cx="2580704" cy="2580704"/>
          </a:xfrm>
          <a:custGeom>
            <a:avLst/>
            <a:gdLst>
              <a:gd name="connsiteX0" fmla="*/ 553019 w 2580704"/>
              <a:gd name="connsiteY0" fmla="*/ 0 h 2580704"/>
              <a:gd name="connsiteX1" fmla="*/ 2027685 w 2580704"/>
              <a:gd name="connsiteY1" fmla="*/ 0 h 2580704"/>
              <a:gd name="connsiteX2" fmla="*/ 2580704 w 2580704"/>
              <a:gd name="connsiteY2" fmla="*/ 553019 h 2580704"/>
              <a:gd name="connsiteX3" fmla="*/ 2580704 w 2580704"/>
              <a:gd name="connsiteY3" fmla="*/ 2027685 h 2580704"/>
              <a:gd name="connsiteX4" fmla="*/ 2027685 w 2580704"/>
              <a:gd name="connsiteY4" fmla="*/ 2580704 h 2580704"/>
              <a:gd name="connsiteX5" fmla="*/ 553019 w 2580704"/>
              <a:gd name="connsiteY5" fmla="*/ 2580704 h 2580704"/>
              <a:gd name="connsiteX6" fmla="*/ 0 w 2580704"/>
              <a:gd name="connsiteY6" fmla="*/ 2027685 h 2580704"/>
              <a:gd name="connsiteX7" fmla="*/ 0 w 2580704"/>
              <a:gd name="connsiteY7" fmla="*/ 553019 h 2580704"/>
              <a:gd name="connsiteX8" fmla="*/ 553019 w 2580704"/>
              <a:gd name="connsiteY8" fmla="*/ 0 h 2580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80704" h="2580704">
                <a:moveTo>
                  <a:pt x="553019" y="0"/>
                </a:moveTo>
                <a:lnTo>
                  <a:pt x="2027685" y="0"/>
                </a:lnTo>
                <a:cubicBezTo>
                  <a:pt x="2333109" y="0"/>
                  <a:pt x="2580704" y="247595"/>
                  <a:pt x="2580704" y="553019"/>
                </a:cubicBezTo>
                <a:lnTo>
                  <a:pt x="2580704" y="2027685"/>
                </a:lnTo>
                <a:cubicBezTo>
                  <a:pt x="2580704" y="2333109"/>
                  <a:pt x="2333109" y="2580704"/>
                  <a:pt x="2027685" y="2580704"/>
                </a:cubicBezTo>
                <a:lnTo>
                  <a:pt x="553019" y="2580704"/>
                </a:lnTo>
                <a:cubicBezTo>
                  <a:pt x="247595" y="2580704"/>
                  <a:pt x="0" y="2333109"/>
                  <a:pt x="0" y="2027685"/>
                </a:cubicBezTo>
                <a:lnTo>
                  <a:pt x="0" y="553019"/>
                </a:lnTo>
                <a:cubicBezTo>
                  <a:pt x="0" y="247595"/>
                  <a:pt x="247595" y="0"/>
                  <a:pt x="553019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id-ID"/>
          </a:p>
        </p:txBody>
      </p:sp>
      <p:sp>
        <p:nvSpPr>
          <p:cNvPr id="13" name="Picture Placeholder 20">
            <a:extLst>
              <a:ext uri="{FF2B5EF4-FFF2-40B4-BE49-F238E27FC236}">
                <a16:creationId xmlns:a16="http://schemas.microsoft.com/office/drawing/2014/main" id="{76350379-D1C3-4926-BA14-CC437EBBFB8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631553" y="3516699"/>
            <a:ext cx="2580704" cy="2580704"/>
          </a:xfrm>
          <a:custGeom>
            <a:avLst/>
            <a:gdLst>
              <a:gd name="connsiteX0" fmla="*/ 553019 w 2580704"/>
              <a:gd name="connsiteY0" fmla="*/ 0 h 2580704"/>
              <a:gd name="connsiteX1" fmla="*/ 2027685 w 2580704"/>
              <a:gd name="connsiteY1" fmla="*/ 0 h 2580704"/>
              <a:gd name="connsiteX2" fmla="*/ 2580704 w 2580704"/>
              <a:gd name="connsiteY2" fmla="*/ 553019 h 2580704"/>
              <a:gd name="connsiteX3" fmla="*/ 2580704 w 2580704"/>
              <a:gd name="connsiteY3" fmla="*/ 2027685 h 2580704"/>
              <a:gd name="connsiteX4" fmla="*/ 2027685 w 2580704"/>
              <a:gd name="connsiteY4" fmla="*/ 2580704 h 2580704"/>
              <a:gd name="connsiteX5" fmla="*/ 553019 w 2580704"/>
              <a:gd name="connsiteY5" fmla="*/ 2580704 h 2580704"/>
              <a:gd name="connsiteX6" fmla="*/ 0 w 2580704"/>
              <a:gd name="connsiteY6" fmla="*/ 2027685 h 2580704"/>
              <a:gd name="connsiteX7" fmla="*/ 0 w 2580704"/>
              <a:gd name="connsiteY7" fmla="*/ 553019 h 2580704"/>
              <a:gd name="connsiteX8" fmla="*/ 553019 w 2580704"/>
              <a:gd name="connsiteY8" fmla="*/ 0 h 2580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80704" h="2580704">
                <a:moveTo>
                  <a:pt x="553019" y="0"/>
                </a:moveTo>
                <a:lnTo>
                  <a:pt x="2027685" y="0"/>
                </a:lnTo>
                <a:cubicBezTo>
                  <a:pt x="2333109" y="0"/>
                  <a:pt x="2580704" y="247595"/>
                  <a:pt x="2580704" y="553019"/>
                </a:cubicBezTo>
                <a:lnTo>
                  <a:pt x="2580704" y="2027685"/>
                </a:lnTo>
                <a:cubicBezTo>
                  <a:pt x="2580704" y="2333109"/>
                  <a:pt x="2333109" y="2580704"/>
                  <a:pt x="2027685" y="2580704"/>
                </a:cubicBezTo>
                <a:lnTo>
                  <a:pt x="553019" y="2580704"/>
                </a:lnTo>
                <a:cubicBezTo>
                  <a:pt x="247595" y="2580704"/>
                  <a:pt x="0" y="2333109"/>
                  <a:pt x="0" y="2027685"/>
                </a:cubicBezTo>
                <a:lnTo>
                  <a:pt x="0" y="553019"/>
                </a:lnTo>
                <a:cubicBezTo>
                  <a:pt x="0" y="247595"/>
                  <a:pt x="247595" y="0"/>
                  <a:pt x="553019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2000"/>
            </a:lvl1pPr>
          </a:lstStyle>
          <a:p>
            <a:endParaRPr lang="id-ID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1D62E48-F0C9-4E6A-B7F9-31AF16B84980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4BAAFF0-1C9A-481B-B0A2-1409DC092AF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601" y="257088"/>
            <a:ext cx="1190600" cy="498598"/>
          </a:xfrm>
          <a:prstGeom prst="rect">
            <a:avLst/>
          </a:prstGeom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CD280D70-539F-4889-B938-68875CE9E9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84691" y="1012774"/>
            <a:ext cx="4902510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52069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CED874E1-9338-4126-92A2-94358BDB7E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2718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CED874E1-9338-4126-92A2-94358BDB7E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32">
            <a:extLst>
              <a:ext uri="{FF2B5EF4-FFF2-40B4-BE49-F238E27FC236}">
                <a16:creationId xmlns:a16="http://schemas.microsoft.com/office/drawing/2014/main" id="{8A75459C-D158-4007-9057-04FD837E9BB1}"/>
              </a:ext>
            </a:extLst>
          </p:cNvPr>
          <p:cNvSpPr>
            <a:spLocks/>
          </p:cNvSpPr>
          <p:nvPr userDrawn="1"/>
        </p:nvSpPr>
        <p:spPr bwMode="auto">
          <a:xfrm flipV="1">
            <a:off x="4736898" y="1568370"/>
            <a:ext cx="7455102" cy="5289630"/>
          </a:xfrm>
          <a:custGeom>
            <a:avLst/>
            <a:gdLst>
              <a:gd name="T0" fmla="*/ 297 w 1043"/>
              <a:gd name="T1" fmla="*/ 114 h 507"/>
              <a:gd name="T2" fmla="*/ 763 w 1043"/>
              <a:gd name="T3" fmla="*/ 384 h 507"/>
              <a:gd name="T4" fmla="*/ 1043 w 1043"/>
              <a:gd name="T5" fmla="*/ 0 h 507"/>
              <a:gd name="T6" fmla="*/ 0 w 1043"/>
              <a:gd name="T7" fmla="*/ 0 h 507"/>
              <a:gd name="T8" fmla="*/ 297 w 1043"/>
              <a:gd name="T9" fmla="*/ 114 h 5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043" h="507">
                <a:moveTo>
                  <a:pt x="297" y="114"/>
                </a:moveTo>
                <a:cubicBezTo>
                  <a:pt x="519" y="72"/>
                  <a:pt x="416" y="507"/>
                  <a:pt x="763" y="384"/>
                </a:cubicBezTo>
                <a:cubicBezTo>
                  <a:pt x="971" y="311"/>
                  <a:pt x="1030" y="132"/>
                  <a:pt x="1043" y="0"/>
                </a:cubicBezTo>
                <a:cubicBezTo>
                  <a:pt x="0" y="0"/>
                  <a:pt x="0" y="0"/>
                  <a:pt x="0" y="0"/>
                </a:cubicBezTo>
                <a:cubicBezTo>
                  <a:pt x="43" y="85"/>
                  <a:pt x="187" y="134"/>
                  <a:pt x="297" y="11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8B67AD8-24E8-44EF-A62B-B879F6DCA8E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609943" y="1964022"/>
            <a:ext cx="4528457" cy="2624194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endParaRPr lang="id-ID"/>
          </a:p>
        </p:txBody>
      </p:sp>
      <p:sp>
        <p:nvSpPr>
          <p:cNvPr id="14" name="Picture Placeholder 5">
            <a:extLst>
              <a:ext uri="{FF2B5EF4-FFF2-40B4-BE49-F238E27FC236}">
                <a16:creationId xmlns:a16="http://schemas.microsoft.com/office/drawing/2014/main" id="{30C635A6-A115-4E57-B219-EEA5BB1418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341929" y="3255792"/>
            <a:ext cx="1768927" cy="2385213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endParaRPr lang="id-ID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2600CCC6-8A4A-4D56-905B-706C4A4DEF55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4A3A97C-7C40-4911-AB33-F26A49FE0728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6FDD2CF-05E6-4D1E-A49B-8B9D202182E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601" y="257088"/>
            <a:ext cx="1190600" cy="498598"/>
          </a:xfrm>
          <a:prstGeom prst="rect">
            <a:avLst/>
          </a:prstGeom>
        </p:spPr>
      </p:pic>
      <p:sp>
        <p:nvSpPr>
          <p:cNvPr id="18" name="Title 1">
            <a:extLst>
              <a:ext uri="{FF2B5EF4-FFF2-40B4-BE49-F238E27FC236}">
                <a16:creationId xmlns:a16="http://schemas.microsoft.com/office/drawing/2014/main" id="{520E8AFB-9245-4970-9F4C-71BC4EC6BA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1" y="257087"/>
            <a:ext cx="11582400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18781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46575DD-ECDD-431F-9ECE-AE53D5C3C3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5199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46575DD-ECDD-431F-9ECE-AE53D5C3C3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Arrow: Pentagon 20">
            <a:extLst>
              <a:ext uri="{FF2B5EF4-FFF2-40B4-BE49-F238E27FC236}">
                <a16:creationId xmlns:a16="http://schemas.microsoft.com/office/drawing/2014/main" id="{29B707AA-4F03-4BF2-AC23-49E3B1C9C672}"/>
              </a:ext>
            </a:extLst>
          </p:cNvPr>
          <p:cNvSpPr/>
          <p:nvPr userDrawn="1"/>
        </p:nvSpPr>
        <p:spPr>
          <a:xfrm rot="16200000">
            <a:off x="4194464" y="-1139538"/>
            <a:ext cx="3803073" cy="12191999"/>
          </a:xfrm>
          <a:prstGeom prst="homePlate">
            <a:avLst>
              <a:gd name="adj" fmla="val 29235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A235E36F-7CEA-4FFA-A0FC-DE782DACF1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0074" y="2228850"/>
            <a:ext cx="2603884" cy="2769176"/>
          </a:xfrm>
          <a:custGeom>
            <a:avLst/>
            <a:gdLst>
              <a:gd name="connsiteX0" fmla="*/ 433989 w 2603884"/>
              <a:gd name="connsiteY0" fmla="*/ 0 h 2769176"/>
              <a:gd name="connsiteX1" fmla="*/ 2169895 w 2603884"/>
              <a:gd name="connsiteY1" fmla="*/ 0 h 2769176"/>
              <a:gd name="connsiteX2" fmla="*/ 2603884 w 2603884"/>
              <a:gd name="connsiteY2" fmla="*/ 433989 h 2769176"/>
              <a:gd name="connsiteX3" fmla="*/ 2603884 w 2603884"/>
              <a:gd name="connsiteY3" fmla="*/ 2335187 h 2769176"/>
              <a:gd name="connsiteX4" fmla="*/ 2169895 w 2603884"/>
              <a:gd name="connsiteY4" fmla="*/ 2769176 h 2769176"/>
              <a:gd name="connsiteX5" fmla="*/ 433989 w 2603884"/>
              <a:gd name="connsiteY5" fmla="*/ 2769176 h 2769176"/>
              <a:gd name="connsiteX6" fmla="*/ 0 w 2603884"/>
              <a:gd name="connsiteY6" fmla="*/ 2335187 h 2769176"/>
              <a:gd name="connsiteX7" fmla="*/ 0 w 2603884"/>
              <a:gd name="connsiteY7" fmla="*/ 433989 h 2769176"/>
              <a:gd name="connsiteX8" fmla="*/ 433989 w 2603884"/>
              <a:gd name="connsiteY8" fmla="*/ 0 h 2769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03884" h="2769176">
                <a:moveTo>
                  <a:pt x="433989" y="0"/>
                </a:moveTo>
                <a:lnTo>
                  <a:pt x="2169895" y="0"/>
                </a:lnTo>
                <a:cubicBezTo>
                  <a:pt x="2409581" y="0"/>
                  <a:pt x="2603884" y="194303"/>
                  <a:pt x="2603884" y="433989"/>
                </a:cubicBezTo>
                <a:lnTo>
                  <a:pt x="2603884" y="2335187"/>
                </a:lnTo>
                <a:cubicBezTo>
                  <a:pt x="2603884" y="2574873"/>
                  <a:pt x="2409581" y="2769176"/>
                  <a:pt x="2169895" y="2769176"/>
                </a:cubicBezTo>
                <a:lnTo>
                  <a:pt x="433989" y="2769176"/>
                </a:lnTo>
                <a:cubicBezTo>
                  <a:pt x="194303" y="2769176"/>
                  <a:pt x="0" y="2574873"/>
                  <a:pt x="0" y="2335187"/>
                </a:cubicBezTo>
                <a:lnTo>
                  <a:pt x="0" y="433989"/>
                </a:lnTo>
                <a:cubicBezTo>
                  <a:pt x="0" y="194303"/>
                  <a:pt x="194303" y="0"/>
                  <a:pt x="433989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id-ID"/>
          </a:p>
        </p:txBody>
      </p:sp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CB2FDBC2-09BF-4743-8D52-283BFB4587B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396063" y="2228850"/>
            <a:ext cx="2603884" cy="2769176"/>
          </a:xfrm>
          <a:custGeom>
            <a:avLst/>
            <a:gdLst>
              <a:gd name="connsiteX0" fmla="*/ 433989 w 2603884"/>
              <a:gd name="connsiteY0" fmla="*/ 0 h 2769176"/>
              <a:gd name="connsiteX1" fmla="*/ 2169895 w 2603884"/>
              <a:gd name="connsiteY1" fmla="*/ 0 h 2769176"/>
              <a:gd name="connsiteX2" fmla="*/ 2603884 w 2603884"/>
              <a:gd name="connsiteY2" fmla="*/ 433989 h 2769176"/>
              <a:gd name="connsiteX3" fmla="*/ 2603884 w 2603884"/>
              <a:gd name="connsiteY3" fmla="*/ 2335187 h 2769176"/>
              <a:gd name="connsiteX4" fmla="*/ 2169895 w 2603884"/>
              <a:gd name="connsiteY4" fmla="*/ 2769176 h 2769176"/>
              <a:gd name="connsiteX5" fmla="*/ 433989 w 2603884"/>
              <a:gd name="connsiteY5" fmla="*/ 2769176 h 2769176"/>
              <a:gd name="connsiteX6" fmla="*/ 0 w 2603884"/>
              <a:gd name="connsiteY6" fmla="*/ 2335187 h 2769176"/>
              <a:gd name="connsiteX7" fmla="*/ 0 w 2603884"/>
              <a:gd name="connsiteY7" fmla="*/ 433989 h 2769176"/>
              <a:gd name="connsiteX8" fmla="*/ 433989 w 2603884"/>
              <a:gd name="connsiteY8" fmla="*/ 0 h 2769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03884" h="2769176">
                <a:moveTo>
                  <a:pt x="433989" y="0"/>
                </a:moveTo>
                <a:lnTo>
                  <a:pt x="2169895" y="0"/>
                </a:lnTo>
                <a:cubicBezTo>
                  <a:pt x="2409581" y="0"/>
                  <a:pt x="2603884" y="194303"/>
                  <a:pt x="2603884" y="433989"/>
                </a:cubicBezTo>
                <a:lnTo>
                  <a:pt x="2603884" y="2335187"/>
                </a:lnTo>
                <a:cubicBezTo>
                  <a:pt x="2603884" y="2574873"/>
                  <a:pt x="2409581" y="2769176"/>
                  <a:pt x="2169895" y="2769176"/>
                </a:cubicBezTo>
                <a:lnTo>
                  <a:pt x="433989" y="2769176"/>
                </a:lnTo>
                <a:cubicBezTo>
                  <a:pt x="194303" y="2769176"/>
                  <a:pt x="0" y="2574873"/>
                  <a:pt x="0" y="2335187"/>
                </a:cubicBezTo>
                <a:lnTo>
                  <a:pt x="0" y="433989"/>
                </a:lnTo>
                <a:cubicBezTo>
                  <a:pt x="0" y="194303"/>
                  <a:pt x="194303" y="0"/>
                  <a:pt x="433989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id-ID"/>
          </a:p>
        </p:txBody>
      </p:sp>
      <p:sp>
        <p:nvSpPr>
          <p:cNvPr id="10" name="Picture Placeholder 14">
            <a:extLst>
              <a:ext uri="{FF2B5EF4-FFF2-40B4-BE49-F238E27FC236}">
                <a16:creationId xmlns:a16="http://schemas.microsoft.com/office/drawing/2014/main" id="{486C1E75-CA2C-46E4-91C2-3EFF4154DA95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92051" y="2228850"/>
            <a:ext cx="2603884" cy="2769176"/>
          </a:xfrm>
          <a:custGeom>
            <a:avLst/>
            <a:gdLst>
              <a:gd name="connsiteX0" fmla="*/ 433989 w 2603884"/>
              <a:gd name="connsiteY0" fmla="*/ 0 h 2769176"/>
              <a:gd name="connsiteX1" fmla="*/ 2169895 w 2603884"/>
              <a:gd name="connsiteY1" fmla="*/ 0 h 2769176"/>
              <a:gd name="connsiteX2" fmla="*/ 2603884 w 2603884"/>
              <a:gd name="connsiteY2" fmla="*/ 433989 h 2769176"/>
              <a:gd name="connsiteX3" fmla="*/ 2603884 w 2603884"/>
              <a:gd name="connsiteY3" fmla="*/ 2335187 h 2769176"/>
              <a:gd name="connsiteX4" fmla="*/ 2169895 w 2603884"/>
              <a:gd name="connsiteY4" fmla="*/ 2769176 h 2769176"/>
              <a:gd name="connsiteX5" fmla="*/ 433989 w 2603884"/>
              <a:gd name="connsiteY5" fmla="*/ 2769176 h 2769176"/>
              <a:gd name="connsiteX6" fmla="*/ 0 w 2603884"/>
              <a:gd name="connsiteY6" fmla="*/ 2335187 h 2769176"/>
              <a:gd name="connsiteX7" fmla="*/ 0 w 2603884"/>
              <a:gd name="connsiteY7" fmla="*/ 433989 h 2769176"/>
              <a:gd name="connsiteX8" fmla="*/ 433989 w 2603884"/>
              <a:gd name="connsiteY8" fmla="*/ 0 h 2769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03884" h="2769176">
                <a:moveTo>
                  <a:pt x="433989" y="0"/>
                </a:moveTo>
                <a:lnTo>
                  <a:pt x="2169895" y="0"/>
                </a:lnTo>
                <a:cubicBezTo>
                  <a:pt x="2409581" y="0"/>
                  <a:pt x="2603884" y="194303"/>
                  <a:pt x="2603884" y="433989"/>
                </a:cubicBezTo>
                <a:lnTo>
                  <a:pt x="2603884" y="2335187"/>
                </a:lnTo>
                <a:cubicBezTo>
                  <a:pt x="2603884" y="2574873"/>
                  <a:pt x="2409581" y="2769176"/>
                  <a:pt x="2169895" y="2769176"/>
                </a:cubicBezTo>
                <a:lnTo>
                  <a:pt x="433989" y="2769176"/>
                </a:lnTo>
                <a:cubicBezTo>
                  <a:pt x="194303" y="2769176"/>
                  <a:pt x="0" y="2574873"/>
                  <a:pt x="0" y="2335187"/>
                </a:cubicBezTo>
                <a:lnTo>
                  <a:pt x="0" y="433989"/>
                </a:lnTo>
                <a:cubicBezTo>
                  <a:pt x="0" y="194303"/>
                  <a:pt x="194303" y="0"/>
                  <a:pt x="433989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id-ID"/>
          </a:p>
        </p:txBody>
      </p:sp>
      <p:sp>
        <p:nvSpPr>
          <p:cNvPr id="11" name="Picture Placeholder 17">
            <a:extLst>
              <a:ext uri="{FF2B5EF4-FFF2-40B4-BE49-F238E27FC236}">
                <a16:creationId xmlns:a16="http://schemas.microsoft.com/office/drawing/2014/main" id="{67F9C716-ECA9-43FA-9BE2-0CE74443447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988041" y="2228850"/>
            <a:ext cx="2603884" cy="2769176"/>
          </a:xfrm>
          <a:custGeom>
            <a:avLst/>
            <a:gdLst>
              <a:gd name="connsiteX0" fmla="*/ 433989 w 2603884"/>
              <a:gd name="connsiteY0" fmla="*/ 0 h 2769176"/>
              <a:gd name="connsiteX1" fmla="*/ 2169895 w 2603884"/>
              <a:gd name="connsiteY1" fmla="*/ 0 h 2769176"/>
              <a:gd name="connsiteX2" fmla="*/ 2603884 w 2603884"/>
              <a:gd name="connsiteY2" fmla="*/ 433989 h 2769176"/>
              <a:gd name="connsiteX3" fmla="*/ 2603884 w 2603884"/>
              <a:gd name="connsiteY3" fmla="*/ 2335187 h 2769176"/>
              <a:gd name="connsiteX4" fmla="*/ 2169895 w 2603884"/>
              <a:gd name="connsiteY4" fmla="*/ 2769176 h 2769176"/>
              <a:gd name="connsiteX5" fmla="*/ 433989 w 2603884"/>
              <a:gd name="connsiteY5" fmla="*/ 2769176 h 2769176"/>
              <a:gd name="connsiteX6" fmla="*/ 0 w 2603884"/>
              <a:gd name="connsiteY6" fmla="*/ 2335187 h 2769176"/>
              <a:gd name="connsiteX7" fmla="*/ 0 w 2603884"/>
              <a:gd name="connsiteY7" fmla="*/ 433989 h 2769176"/>
              <a:gd name="connsiteX8" fmla="*/ 433989 w 2603884"/>
              <a:gd name="connsiteY8" fmla="*/ 0 h 2769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03884" h="2769176">
                <a:moveTo>
                  <a:pt x="433989" y="0"/>
                </a:moveTo>
                <a:lnTo>
                  <a:pt x="2169895" y="0"/>
                </a:lnTo>
                <a:cubicBezTo>
                  <a:pt x="2409581" y="0"/>
                  <a:pt x="2603884" y="194303"/>
                  <a:pt x="2603884" y="433989"/>
                </a:cubicBezTo>
                <a:lnTo>
                  <a:pt x="2603884" y="2335187"/>
                </a:lnTo>
                <a:cubicBezTo>
                  <a:pt x="2603884" y="2574873"/>
                  <a:pt x="2409581" y="2769176"/>
                  <a:pt x="2169895" y="2769176"/>
                </a:cubicBezTo>
                <a:lnTo>
                  <a:pt x="433989" y="2769176"/>
                </a:lnTo>
                <a:cubicBezTo>
                  <a:pt x="194303" y="2769176"/>
                  <a:pt x="0" y="2574873"/>
                  <a:pt x="0" y="2335187"/>
                </a:cubicBezTo>
                <a:lnTo>
                  <a:pt x="0" y="433989"/>
                </a:lnTo>
                <a:cubicBezTo>
                  <a:pt x="0" y="194303"/>
                  <a:pt x="194303" y="0"/>
                  <a:pt x="433989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endParaRPr lang="id-ID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9A77330-A661-484F-9AE1-168D80055CA3}"/>
              </a:ext>
            </a:extLst>
          </p:cNvPr>
          <p:cNvSpPr/>
          <p:nvPr userDrawn="1"/>
        </p:nvSpPr>
        <p:spPr>
          <a:xfrm>
            <a:off x="11725201" y="6389370"/>
            <a:ext cx="324000" cy="324000"/>
          </a:xfrm>
          <a:prstGeom prst="ellipse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lvl="0" algn="ctr"/>
            <a:fld id="{2BE5444B-4271-492E-9574-164FD80BD889}" type="slidenum">
              <a:rPr lang="en-US" sz="900" smtClean="0">
                <a:solidFill>
                  <a:schemeClr val="bg1"/>
                </a:solidFill>
              </a:rPr>
              <a:pPr lvl="0" algn="ctr"/>
              <a:t>‹#›</a:t>
            </a:fld>
            <a:endParaRPr lang="en-US" sz="90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3EC98EE-CE30-4963-99E3-758AE26D9D8A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AB27D1A-0EFB-4B53-9BE6-98CA060B0B3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6601" y="257088"/>
            <a:ext cx="1190600" cy="498598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09BF4386-DDA5-4761-BE8B-2F857834D2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1" y="257087"/>
            <a:ext cx="11582400" cy="498598"/>
          </a:xfrm>
        </p:spPr>
        <p:txBody>
          <a:bodyPr vert="horz" wrap="square" lIns="0" tIns="0" rIns="0" bIns="0" anchor="t">
            <a:spAutoFit/>
          </a:bodyPr>
          <a:lstStyle>
            <a:lvl1pPr algn="l"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itle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735328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9.jpeg"/><Relationship Id="rId18" Type="http://schemas.openxmlformats.org/officeDocument/2006/relationships/image" Target="../media/image13.png"/><Relationship Id="rId3" Type="http://schemas.openxmlformats.org/officeDocument/2006/relationships/slideLayout" Target="../slideLayouts/slideLayout27.xml"/><Relationship Id="rId21" Type="http://schemas.openxmlformats.org/officeDocument/2006/relationships/image" Target="../media/image16.png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2.xml"/><Relationship Id="rId17" Type="http://schemas.openxmlformats.org/officeDocument/2006/relationships/hyperlink" Target="https://logos-download.com/wp-content/uploads/2016/12/University_of_Bristol_logo.png" TargetMode="External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12.png"/><Relationship Id="rId20" Type="http://schemas.openxmlformats.org/officeDocument/2006/relationships/image" Target="../media/image15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14.jpeg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10.tiff"/><Relationship Id="rId22" Type="http://schemas.openxmlformats.org/officeDocument/2006/relationships/image" Target="../media/image17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7A68117-BB46-4828-85C2-51AF65AB36B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4267483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8" imgW="425" imgH="426" progId="TCLayout.ActiveDocument.1">
                  <p:embed/>
                </p:oleObj>
              </mc:Choice>
              <mc:Fallback>
                <p:oleObj name="think-cell Slide" r:id="rId28" imgW="425" imgH="42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7A68117-BB46-4828-85C2-51AF65AB36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9783C56-FD03-4BAF-915C-1CF0F3EE39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FF09539-E87F-4A39-B5C3-E1C74AB45E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D9DF55-26E4-4FBE-8671-75740EA2D7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A4F5DF-7D14-43CB-9667-84CE429FEE22}" type="datetimeFigureOut">
              <a:rPr lang="en-US" smtClean="0"/>
              <a:t>4/13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545BD11-06E1-4A4C-855F-3A11422782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022900-BF93-43DA-97B9-FF17E483FD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064747C-DA70-451F-8004-9291E62110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607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E1A0BD-786E-7540-B0FE-58E26C0E2A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C5C93C-C861-874A-89FE-A7A753041E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pic>
        <p:nvPicPr>
          <p:cNvPr id="9" name="Picture 8"/>
          <p:cNvPicPr/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89308" y="131846"/>
            <a:ext cx="1671205" cy="652998"/>
          </a:xfrm>
          <a:prstGeom prst="rect">
            <a:avLst/>
          </a:prstGeom>
        </p:spPr>
      </p:pic>
      <p:pic>
        <p:nvPicPr>
          <p:cNvPr id="12" name="Picture 11" descr="C:\Users\knf17dtu\AppData\Local\Packages\Microsoft.MicrosoftEdge_8wekyb3d8bbwe\TempState\Downloads\UEA_NEW_BRAND_Green (5).tif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955" y="6330496"/>
            <a:ext cx="843957" cy="500399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Picture 12" descr="C:\Users\knf17dtu\AppData\Local\Microsoft\Windows\INetCache\Content.MSO\5DF7ECC0.tmp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22" y="6340031"/>
            <a:ext cx="1590913" cy="501648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icture 15" descr="C:\Users\knf17dtu\AppData\Local\Microsoft\Windows\INetCache\Content.MSO\DACFD3FA.tmp"/>
          <p:cNvPicPr>
            <a:picLocks noChangeAspect="1"/>
          </p:cNvPicPr>
          <p:nvPr userDrawn="1"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44" t="25545" r="17724" b="20379"/>
          <a:stretch/>
        </p:blipFill>
        <p:spPr bwMode="auto">
          <a:xfrm>
            <a:off x="7280911" y="6304775"/>
            <a:ext cx="1079198" cy="5112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7" name="Picture 16" descr="University of Bristol logo">
            <a:hlinkClick r:id="rId17"/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6382" y="6336706"/>
            <a:ext cx="1414644" cy="427018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3855" y="6326375"/>
            <a:ext cx="1357909" cy="468000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67C481D-7397-E8BB-4F7B-37A9140CCF19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8670112" y="6343216"/>
            <a:ext cx="1619196" cy="41399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DB12B2B-D397-43D0-5C91-828B09FDC9CC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5162799" y="6325525"/>
            <a:ext cx="1806866" cy="48504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C8583E9-F417-1BA3-DD46-6BC13142C18F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192159" y="131659"/>
            <a:ext cx="1796128" cy="466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4265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jpeg"/><Relationship Id="rId3" Type="http://schemas.openxmlformats.org/officeDocument/2006/relationships/image" Target="../media/image42.jpeg"/><Relationship Id="rId7" Type="http://schemas.openxmlformats.org/officeDocument/2006/relationships/image" Target="../media/image46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5.png"/><Relationship Id="rId5" Type="http://schemas.openxmlformats.org/officeDocument/2006/relationships/image" Target="../media/image44.jpeg"/><Relationship Id="rId4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9.png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10" Type="http://schemas.openxmlformats.org/officeDocument/2006/relationships/image" Target="../media/image29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63029F5-59FE-4C2A-B95A-22259519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6037" y="1409734"/>
            <a:ext cx="5540414" cy="1994392"/>
          </a:xfrm>
        </p:spPr>
        <p:txBody>
          <a:bodyPr/>
          <a:lstStyle/>
          <a:p>
            <a:r>
              <a:rPr lang="en-GB" sz="4800" dirty="0">
                <a:solidFill>
                  <a:schemeClr val="accent2"/>
                </a:solidFill>
                <a:latin typeface="Abadi" panose="020B0604020104020204" pitchFamily="34" charset="0"/>
              </a:rPr>
              <a:t>Highland Climate Risk and Opportunity Assessment</a:t>
            </a:r>
          </a:p>
        </p:txBody>
      </p:sp>
      <p:pic>
        <p:nvPicPr>
          <p:cNvPr id="8" name="Picture Placeholder 7" descr="A picture containing outdoor, mountain, nature&#10;&#10;Description automatically generated">
            <a:extLst>
              <a:ext uri="{FF2B5EF4-FFF2-40B4-BE49-F238E27FC236}">
                <a16:creationId xmlns:a16="http://schemas.microsoft.com/office/drawing/2014/main" id="{ABC9694C-062F-4A3A-9D8D-5D0818E9E92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09" r="2040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15634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 body of water with trees and a building in the background&#10;&#10;Description automatically generated with medium confidence">
            <a:extLst>
              <a:ext uri="{FF2B5EF4-FFF2-40B4-BE49-F238E27FC236}">
                <a16:creationId xmlns:a16="http://schemas.microsoft.com/office/drawing/2014/main" id="{254C71C8-31CB-46A5-9905-40E0AEACCBF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50" b="8750"/>
          <a:stretch>
            <a:fillRect/>
          </a:stretch>
        </p:blipFill>
        <p:spPr>
          <a:xfrm>
            <a:off x="0" y="0"/>
            <a:ext cx="12192000" cy="6705600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E4259B2-C973-477A-993B-C12786A443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94075" y="3096534"/>
            <a:ext cx="6004048" cy="1006429"/>
          </a:xfrm>
        </p:spPr>
        <p:txBody>
          <a:bodyPr/>
          <a:lstStyle/>
          <a:p>
            <a:r>
              <a:rPr lang="en-GB" sz="6600">
                <a:latin typeface="Abadi" panose="020B0604020104020204" pitchFamily="34" charset="0"/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3234093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74BC4FD7-337C-4FED-9234-98708EB3EBF5}"/>
              </a:ext>
            </a:extLst>
          </p:cNvPr>
          <p:cNvSpPr/>
          <p:nvPr/>
        </p:nvSpPr>
        <p:spPr>
          <a:xfrm>
            <a:off x="669131" y="216521"/>
            <a:ext cx="1826419" cy="115625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Data provided by agencies and public bodie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CDD92AC-0B5E-4597-A98D-ABC8F98E1F1C}"/>
              </a:ext>
            </a:extLst>
          </p:cNvPr>
          <p:cNvSpPr/>
          <p:nvPr/>
        </p:nvSpPr>
        <p:spPr>
          <a:xfrm>
            <a:off x="2405062" y="502436"/>
            <a:ext cx="1588395" cy="907262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oastal Change Assessment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0D87A42-0355-44E8-831E-904321AC10C7}"/>
              </a:ext>
            </a:extLst>
          </p:cNvPr>
          <p:cNvSpPr/>
          <p:nvPr/>
        </p:nvSpPr>
        <p:spPr>
          <a:xfrm>
            <a:off x="669132" y="1257301"/>
            <a:ext cx="1435893" cy="619125"/>
          </a:xfrm>
          <a:prstGeom prst="ellipse">
            <a:avLst/>
          </a:prstGeom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penCLIM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C405BCE-6174-45FB-92C5-8253689DFDD5}"/>
              </a:ext>
            </a:extLst>
          </p:cNvPr>
          <p:cNvSpPr/>
          <p:nvPr/>
        </p:nvSpPr>
        <p:spPr>
          <a:xfrm>
            <a:off x="1733550" y="1238250"/>
            <a:ext cx="1485900" cy="127635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UK Climate Change Risk Assessment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45C3769-47A6-4EBF-AF87-53F3D41BD428}"/>
              </a:ext>
            </a:extLst>
          </p:cNvPr>
          <p:cNvSpPr/>
          <p:nvPr/>
        </p:nvSpPr>
        <p:spPr>
          <a:xfrm>
            <a:off x="9167812" y="276865"/>
            <a:ext cx="1554957" cy="11811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argeted Engagement with 3</a:t>
            </a:r>
            <a:r>
              <a:rPr kumimoji="0" lang="en-GB" sz="14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rd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Sector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D2C8BE5-42A6-4CA7-9EC9-97F31F6C96B1}"/>
              </a:ext>
            </a:extLst>
          </p:cNvPr>
          <p:cNvSpPr/>
          <p:nvPr/>
        </p:nvSpPr>
        <p:spPr>
          <a:xfrm>
            <a:off x="7814071" y="439112"/>
            <a:ext cx="1554958" cy="1276353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limate Interest Groups, - Climate Hub etc.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6A6DFD9-9D40-45F3-82DE-65906DBC728A}"/>
              </a:ext>
            </a:extLst>
          </p:cNvPr>
          <p:cNvSpPr/>
          <p:nvPr/>
        </p:nvSpPr>
        <p:spPr>
          <a:xfrm>
            <a:off x="8315325" y="1535906"/>
            <a:ext cx="1704975" cy="1404937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ngagement with land managers and businesses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E9538D9-D934-46B0-9C23-D01394BDC60A}"/>
              </a:ext>
            </a:extLst>
          </p:cNvPr>
          <p:cNvSpPr/>
          <p:nvPr/>
        </p:nvSpPr>
        <p:spPr>
          <a:xfrm>
            <a:off x="9705975" y="1208488"/>
            <a:ext cx="2007970" cy="1579956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eedback from partner led community involvement, e.g. CAT or RLUP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932DF0F-60E3-4FB5-A981-1773D45669B1}"/>
              </a:ext>
            </a:extLst>
          </p:cNvPr>
          <p:cNvSpPr/>
          <p:nvPr/>
        </p:nvSpPr>
        <p:spPr>
          <a:xfrm>
            <a:off x="3131342" y="1693072"/>
            <a:ext cx="1785937" cy="723900"/>
          </a:xfrm>
          <a:prstGeom prst="round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tage 1 – Gath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ormal data and evidence sources 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ECCFFBAB-87A3-4CB3-B1D8-9976B526BA5F}"/>
              </a:ext>
            </a:extLst>
          </p:cNvPr>
          <p:cNvSpPr/>
          <p:nvPr/>
        </p:nvSpPr>
        <p:spPr>
          <a:xfrm>
            <a:off x="6800850" y="1710929"/>
            <a:ext cx="1647825" cy="723901"/>
          </a:xfrm>
          <a:prstGeom prst="round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tage 1 – Gath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vidence &amp; stories of lived experience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47796359-CAE0-4E41-8CF1-27064811A565}"/>
              </a:ext>
            </a:extLst>
          </p:cNvPr>
          <p:cNvSpPr/>
          <p:nvPr/>
        </p:nvSpPr>
        <p:spPr>
          <a:xfrm>
            <a:off x="5014913" y="2917034"/>
            <a:ext cx="1785937" cy="723900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tage 2 – Identif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ross sector risks &amp; opportunities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96F921E-D0E7-462E-A427-165372828A39}"/>
              </a:ext>
            </a:extLst>
          </p:cNvPr>
          <p:cNvSpPr/>
          <p:nvPr/>
        </p:nvSpPr>
        <p:spPr>
          <a:xfrm>
            <a:off x="4995863" y="3935013"/>
            <a:ext cx="1804987" cy="723901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tage 3 – Asse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conomic risks &amp; opportunitie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53F8C906-76BD-416D-9A16-DB55F8599C1E}"/>
              </a:ext>
            </a:extLst>
          </p:cNvPr>
          <p:cNvSpPr/>
          <p:nvPr/>
        </p:nvSpPr>
        <p:spPr>
          <a:xfrm>
            <a:off x="5014913" y="4923230"/>
            <a:ext cx="1785937" cy="757241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tage 3 – Asse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limate Risks &amp; Opportunities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A59EE77-A76E-47DB-9892-D1989175B210}"/>
              </a:ext>
            </a:extLst>
          </p:cNvPr>
          <p:cNvSpPr/>
          <p:nvPr/>
        </p:nvSpPr>
        <p:spPr>
          <a:xfrm>
            <a:off x="4993481" y="5944787"/>
            <a:ext cx="1804987" cy="723902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tage 4 – Publish</a:t>
            </a:r>
          </a:p>
        </p:txBody>
      </p:sp>
      <p:sp>
        <p:nvSpPr>
          <p:cNvPr id="19" name="Arrow: Up-Down 18">
            <a:extLst>
              <a:ext uri="{FF2B5EF4-FFF2-40B4-BE49-F238E27FC236}">
                <a16:creationId xmlns:a16="http://schemas.microsoft.com/office/drawing/2014/main" id="{16AADA6C-E553-48F6-BD5F-41333614F61B}"/>
              </a:ext>
            </a:extLst>
          </p:cNvPr>
          <p:cNvSpPr/>
          <p:nvPr/>
        </p:nvSpPr>
        <p:spPr>
          <a:xfrm>
            <a:off x="3024188" y="2524137"/>
            <a:ext cx="1770459" cy="4144552"/>
          </a:xfrm>
          <a:prstGeom prst="upDownArrow">
            <a:avLst>
              <a:gd name="adj1" fmla="val 64135"/>
              <a:gd name="adj2" fmla="val 50000"/>
            </a:avLst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People with experience of formal data &amp; evidence &amp; lived experience are involved throughout this process</a:t>
            </a:r>
          </a:p>
        </p:txBody>
      </p:sp>
      <p:sp>
        <p:nvSpPr>
          <p:cNvPr id="20" name="Flowchart: Alternate Process 19">
            <a:extLst>
              <a:ext uri="{FF2B5EF4-FFF2-40B4-BE49-F238E27FC236}">
                <a16:creationId xmlns:a16="http://schemas.microsoft.com/office/drawing/2014/main" id="{B3651E56-9D1B-4022-B7A5-7C1B079A81DB}"/>
              </a:ext>
            </a:extLst>
          </p:cNvPr>
          <p:cNvSpPr/>
          <p:nvPr/>
        </p:nvSpPr>
        <p:spPr>
          <a:xfrm>
            <a:off x="9608046" y="3302175"/>
            <a:ext cx="2229445" cy="1751065"/>
          </a:xfrm>
          <a:prstGeom prst="flowChartAlternateProcess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Prioritise bringing in lived experience from across the region – involving people, capturing local stories, building awareness &amp; capacity to respond </a:t>
            </a:r>
          </a:p>
        </p:txBody>
      </p:sp>
      <p:sp>
        <p:nvSpPr>
          <p:cNvPr id="21" name="Flowchart: Alternate Process 20">
            <a:extLst>
              <a:ext uri="{FF2B5EF4-FFF2-40B4-BE49-F238E27FC236}">
                <a16:creationId xmlns:a16="http://schemas.microsoft.com/office/drawing/2014/main" id="{78308F0A-5355-40A8-9E7F-D8755AA8DDFF}"/>
              </a:ext>
            </a:extLst>
          </p:cNvPr>
          <p:cNvSpPr/>
          <p:nvPr/>
        </p:nvSpPr>
        <p:spPr>
          <a:xfrm>
            <a:off x="304206" y="2872987"/>
            <a:ext cx="1735931" cy="1470412"/>
          </a:xfrm>
          <a:prstGeom prst="flowChartAlternateProcess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mphasis on using published evidence – adding new regional elements where needed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C8462611-29A5-4839-B1BB-2A2173728E9B}"/>
              </a:ext>
            </a:extLst>
          </p:cNvPr>
          <p:cNvCxnSpPr>
            <a:cxnSpLocks/>
          </p:cNvCxnSpPr>
          <p:nvPr/>
        </p:nvCxnSpPr>
        <p:spPr>
          <a:xfrm>
            <a:off x="5022057" y="2372924"/>
            <a:ext cx="635794" cy="50006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15808C7-CC6B-4C85-B089-69590008D8ED}"/>
              </a:ext>
            </a:extLst>
          </p:cNvPr>
          <p:cNvCxnSpPr>
            <a:cxnSpLocks/>
          </p:cNvCxnSpPr>
          <p:nvPr/>
        </p:nvCxnSpPr>
        <p:spPr>
          <a:xfrm flipH="1">
            <a:off x="6029325" y="2416972"/>
            <a:ext cx="769143" cy="456014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59C203DD-C046-4D05-ABC4-7AFBA7CF17BD}"/>
              </a:ext>
            </a:extLst>
          </p:cNvPr>
          <p:cNvCxnSpPr>
            <a:stCxn id="15" idx="2"/>
            <a:endCxn id="16" idx="0"/>
          </p:cNvCxnSpPr>
          <p:nvPr/>
        </p:nvCxnSpPr>
        <p:spPr>
          <a:xfrm flipH="1">
            <a:off x="5898357" y="3640934"/>
            <a:ext cx="9525" cy="29407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680239F5-0658-438D-BD56-8F426F01D108}"/>
              </a:ext>
            </a:extLst>
          </p:cNvPr>
          <p:cNvCxnSpPr>
            <a:stCxn id="16" idx="2"/>
            <a:endCxn id="17" idx="0"/>
          </p:cNvCxnSpPr>
          <p:nvPr/>
        </p:nvCxnSpPr>
        <p:spPr>
          <a:xfrm>
            <a:off x="5898357" y="4658914"/>
            <a:ext cx="9525" cy="26431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E977BDDB-2279-4ABD-B201-E5FAC3EC1672}"/>
              </a:ext>
            </a:extLst>
          </p:cNvPr>
          <p:cNvCxnSpPr>
            <a:stCxn id="17" idx="2"/>
            <a:endCxn id="18" idx="0"/>
          </p:cNvCxnSpPr>
          <p:nvPr/>
        </p:nvCxnSpPr>
        <p:spPr>
          <a:xfrm flipH="1">
            <a:off x="5895975" y="5680471"/>
            <a:ext cx="11907" cy="26431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C86B4DF-52C5-46AA-939B-2A35EB00CEE8}"/>
              </a:ext>
            </a:extLst>
          </p:cNvPr>
          <p:cNvCxnSpPr>
            <a:cxnSpLocks/>
          </p:cNvCxnSpPr>
          <p:nvPr/>
        </p:nvCxnSpPr>
        <p:spPr>
          <a:xfrm flipV="1">
            <a:off x="1152525" y="2072879"/>
            <a:ext cx="481013" cy="715565"/>
          </a:xfrm>
          <a:prstGeom prst="straightConnector1">
            <a:avLst/>
          </a:prstGeom>
          <a:ln w="57150"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412EDDB7-87F4-4BE8-8CDF-36DC0133D578}"/>
              </a:ext>
            </a:extLst>
          </p:cNvPr>
          <p:cNvCxnSpPr>
            <a:cxnSpLocks/>
          </p:cNvCxnSpPr>
          <p:nvPr/>
        </p:nvCxnSpPr>
        <p:spPr>
          <a:xfrm flipH="1" flipV="1">
            <a:off x="9996339" y="2741109"/>
            <a:ext cx="695622" cy="456003"/>
          </a:xfrm>
          <a:prstGeom prst="straightConnector1">
            <a:avLst/>
          </a:prstGeom>
          <a:ln w="57150"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20FA6E42-6438-4D44-97A9-A9B398AB322C}"/>
              </a:ext>
            </a:extLst>
          </p:cNvPr>
          <p:cNvSpPr txBox="1"/>
          <p:nvPr/>
        </p:nvSpPr>
        <p:spPr>
          <a:xfrm>
            <a:off x="3993458" y="216521"/>
            <a:ext cx="3747884" cy="120032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ghlan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mate Risk &amp; Opportunit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sessment Methodology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89AD04BE-E602-40DC-B30B-78A37E2CEC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17648" y="143111"/>
            <a:ext cx="1227086" cy="51387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90503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8AE6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diagram&#10;&#10;Description automatically generated">
            <a:extLst>
              <a:ext uri="{FF2B5EF4-FFF2-40B4-BE49-F238E27FC236}">
                <a16:creationId xmlns:a16="http://schemas.microsoft.com/office/drawing/2014/main" id="{38BC12B4-623D-44D4-B5DF-BB0169EABD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1720" y="0"/>
            <a:ext cx="10068560" cy="6875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19034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Map&#10;&#10;Description automatically generated">
            <a:extLst>
              <a:ext uri="{FF2B5EF4-FFF2-40B4-BE49-F238E27FC236}">
                <a16:creationId xmlns:a16="http://schemas.microsoft.com/office/drawing/2014/main" id="{F50B340C-2D6F-41D3-9998-997AEE35CA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5074" y="50800"/>
            <a:ext cx="8421726" cy="6827188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154FF32-F77C-42BD-8C87-0E6E1CE211C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56800" y="6077176"/>
            <a:ext cx="2138553" cy="771937"/>
          </a:xfrm>
          <a:prstGeom prst="rect">
            <a:avLst/>
          </a:prstGeom>
        </p:spPr>
      </p:pic>
      <p:pic>
        <p:nvPicPr>
          <p:cNvPr id="6" name="Picture 5" descr="Text, letter&#10;&#10;Description automatically generated">
            <a:extLst>
              <a:ext uri="{FF2B5EF4-FFF2-40B4-BE49-F238E27FC236}">
                <a16:creationId xmlns:a16="http://schemas.microsoft.com/office/drawing/2014/main" id="{F35475B0-53C2-417C-AE87-2393E54ECF56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428" b="56021"/>
          <a:stretch/>
        </p:blipFill>
        <p:spPr>
          <a:xfrm>
            <a:off x="7337830" y="3188368"/>
            <a:ext cx="3789846" cy="26314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Graphic 7" descr="Marker with solid fill">
            <a:extLst>
              <a:ext uri="{FF2B5EF4-FFF2-40B4-BE49-F238E27FC236}">
                <a16:creationId xmlns:a16="http://schemas.microsoft.com/office/drawing/2014/main" id="{21801D79-5F5C-436E-AE86-114CDDB700C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15692" y="2731168"/>
            <a:ext cx="914400" cy="914400"/>
          </a:xfrm>
          <a:prstGeom prst="rect">
            <a:avLst/>
          </a:prstGeom>
        </p:spPr>
      </p:pic>
      <p:pic>
        <p:nvPicPr>
          <p:cNvPr id="10" name="Picture 9" descr="A picture containing diagram&#10;&#10;Description automatically generated">
            <a:extLst>
              <a:ext uri="{FF2B5EF4-FFF2-40B4-BE49-F238E27FC236}">
                <a16:creationId xmlns:a16="http://schemas.microsoft.com/office/drawing/2014/main" id="{E1756227-DDDC-4B84-B1FF-202D37C384EF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88" b="65174"/>
          <a:stretch/>
        </p:blipFill>
        <p:spPr>
          <a:xfrm>
            <a:off x="220874" y="493343"/>
            <a:ext cx="6347566" cy="12846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9072227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>
            <a:extLst>
              <a:ext uri="{FF2B5EF4-FFF2-40B4-BE49-F238E27FC236}">
                <a16:creationId xmlns:a16="http://schemas.microsoft.com/office/drawing/2014/main" id="{BA7184EE-5200-42C0-9B88-D1AFFD647BF7}"/>
              </a:ext>
            </a:extLst>
          </p:cNvPr>
          <p:cNvSpPr/>
          <p:nvPr/>
        </p:nvSpPr>
        <p:spPr>
          <a:xfrm>
            <a:off x="5878852" y="541512"/>
            <a:ext cx="5801449" cy="20066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1D531B4-6B11-4986-A4C8-8C910669451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biLevel thresh="25000"/>
          </a:blip>
          <a:srcRect l="42974"/>
          <a:stretch/>
        </p:blipFill>
        <p:spPr>
          <a:xfrm>
            <a:off x="10874178" y="266700"/>
            <a:ext cx="1020342" cy="7493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2B36949-AB8F-4377-8B28-77782676399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7673"/>
          <a:stretch/>
        </p:blipFill>
        <p:spPr>
          <a:xfrm>
            <a:off x="10066046" y="266700"/>
            <a:ext cx="757332" cy="7493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78EF4AE-6F2A-4232-93F0-3B4CFBB3CEA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1699" y="630693"/>
            <a:ext cx="4797968" cy="559661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9CC99DA-690D-4F03-99F7-D399FE5D402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64633" y="2548112"/>
            <a:ext cx="5801449" cy="1407938"/>
          </a:xfrm>
        </p:spPr>
        <p:txBody>
          <a:bodyPr/>
          <a:lstStyle/>
          <a:p>
            <a:r>
              <a:rPr lang="en-GB" sz="4400">
                <a:latin typeface="Abadi" panose="020B0604020104020204" pitchFamily="34" charset="0"/>
              </a:rPr>
              <a:t>https://highlandadapts.commonplace.is</a:t>
            </a:r>
          </a:p>
        </p:txBody>
      </p:sp>
    </p:spTree>
    <p:extLst>
      <p:ext uri="{BB962C8B-B14F-4D97-AF65-F5344CB8AC3E}">
        <p14:creationId xmlns:p14="http://schemas.microsoft.com/office/powerpoint/2010/main" val="2377043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D9A4C6F-6748-4873-A764-506226A858B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D9A4C6F-6748-4873-A764-506226A858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5F30564-5DE9-46F2-87CC-98208162D8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isk Assessment Roadmap</a:t>
            </a:r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12D0FFED-8FBF-40CB-AAEE-9C58B278B5BB}"/>
              </a:ext>
            </a:extLst>
          </p:cNvPr>
          <p:cNvSpPr>
            <a:spLocks/>
          </p:cNvSpPr>
          <p:nvPr/>
        </p:nvSpPr>
        <p:spPr bwMode="auto">
          <a:xfrm>
            <a:off x="0" y="1939700"/>
            <a:ext cx="1415050" cy="557787"/>
          </a:xfrm>
          <a:custGeom>
            <a:avLst/>
            <a:gdLst>
              <a:gd name="T0" fmla="*/ 973 w 973"/>
              <a:gd name="T1" fmla="*/ 95 h 193"/>
              <a:gd name="T2" fmla="*/ 918 w 973"/>
              <a:gd name="T3" fmla="*/ 0 h 193"/>
              <a:gd name="T4" fmla="*/ 918 w 973"/>
              <a:gd name="T5" fmla="*/ 31 h 193"/>
              <a:gd name="T6" fmla="*/ 0 w 973"/>
              <a:gd name="T7" fmla="*/ 31 h 193"/>
              <a:gd name="T8" fmla="*/ 0 w 973"/>
              <a:gd name="T9" fmla="*/ 164 h 193"/>
              <a:gd name="T10" fmla="*/ 918 w 973"/>
              <a:gd name="T11" fmla="*/ 164 h 193"/>
              <a:gd name="T12" fmla="*/ 918 w 973"/>
              <a:gd name="T13" fmla="*/ 193 h 193"/>
              <a:gd name="T14" fmla="*/ 973 w 973"/>
              <a:gd name="T15" fmla="*/ 95 h 193"/>
              <a:gd name="T16" fmla="*/ 973 w 973"/>
              <a:gd name="T17" fmla="*/ 95 h 193"/>
              <a:gd name="T18" fmla="*/ 973 w 973"/>
              <a:gd name="T19" fmla="*/ 95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73" h="193">
                <a:moveTo>
                  <a:pt x="973" y="95"/>
                </a:moveTo>
                <a:lnTo>
                  <a:pt x="918" y="0"/>
                </a:lnTo>
                <a:lnTo>
                  <a:pt x="918" y="31"/>
                </a:lnTo>
                <a:lnTo>
                  <a:pt x="0" y="31"/>
                </a:lnTo>
                <a:lnTo>
                  <a:pt x="0" y="164"/>
                </a:lnTo>
                <a:lnTo>
                  <a:pt x="918" y="164"/>
                </a:lnTo>
                <a:lnTo>
                  <a:pt x="918" y="193"/>
                </a:lnTo>
                <a:lnTo>
                  <a:pt x="973" y="95"/>
                </a:lnTo>
                <a:lnTo>
                  <a:pt x="973" y="95"/>
                </a:lnTo>
                <a:lnTo>
                  <a:pt x="973" y="9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6" name="Freeform 2">
            <a:extLst>
              <a:ext uri="{FF2B5EF4-FFF2-40B4-BE49-F238E27FC236}">
                <a16:creationId xmlns:a16="http://schemas.microsoft.com/office/drawing/2014/main" id="{DF208811-95BE-431F-B228-CA9CA756786C}"/>
              </a:ext>
            </a:extLst>
          </p:cNvPr>
          <p:cNvSpPr>
            <a:spLocks/>
          </p:cNvSpPr>
          <p:nvPr/>
        </p:nvSpPr>
        <p:spPr bwMode="auto">
          <a:xfrm>
            <a:off x="1258163" y="4173739"/>
            <a:ext cx="2812056" cy="554897"/>
          </a:xfrm>
          <a:custGeom>
            <a:avLst/>
            <a:gdLst>
              <a:gd name="T0" fmla="*/ 0 w 973"/>
              <a:gd name="T1" fmla="*/ 95 h 192"/>
              <a:gd name="T2" fmla="*/ 54 w 973"/>
              <a:gd name="T3" fmla="*/ 0 h 192"/>
              <a:gd name="T4" fmla="*/ 54 w 973"/>
              <a:gd name="T5" fmla="*/ 31 h 192"/>
              <a:gd name="T6" fmla="*/ 973 w 973"/>
              <a:gd name="T7" fmla="*/ 31 h 192"/>
              <a:gd name="T8" fmla="*/ 973 w 973"/>
              <a:gd name="T9" fmla="*/ 164 h 192"/>
              <a:gd name="T10" fmla="*/ 54 w 973"/>
              <a:gd name="T11" fmla="*/ 164 h 192"/>
              <a:gd name="T12" fmla="*/ 54 w 973"/>
              <a:gd name="T13" fmla="*/ 192 h 192"/>
              <a:gd name="T14" fmla="*/ 0 w 973"/>
              <a:gd name="T15" fmla="*/ 95 h 192"/>
              <a:gd name="T16" fmla="*/ 0 w 973"/>
              <a:gd name="T17" fmla="*/ 95 h 192"/>
              <a:gd name="T18" fmla="*/ 0 w 973"/>
              <a:gd name="T19" fmla="*/ 95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73" h="192">
                <a:moveTo>
                  <a:pt x="0" y="95"/>
                </a:moveTo>
                <a:lnTo>
                  <a:pt x="54" y="0"/>
                </a:lnTo>
                <a:lnTo>
                  <a:pt x="54" y="31"/>
                </a:lnTo>
                <a:lnTo>
                  <a:pt x="973" y="31"/>
                </a:lnTo>
                <a:lnTo>
                  <a:pt x="973" y="164"/>
                </a:lnTo>
                <a:lnTo>
                  <a:pt x="54" y="164"/>
                </a:lnTo>
                <a:lnTo>
                  <a:pt x="54" y="192"/>
                </a:lnTo>
                <a:lnTo>
                  <a:pt x="0" y="95"/>
                </a:lnTo>
                <a:lnTo>
                  <a:pt x="0" y="95"/>
                </a:lnTo>
                <a:lnTo>
                  <a:pt x="0" y="9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7" name="Freeform 3">
            <a:extLst>
              <a:ext uri="{FF2B5EF4-FFF2-40B4-BE49-F238E27FC236}">
                <a16:creationId xmlns:a16="http://schemas.microsoft.com/office/drawing/2014/main" id="{620047A9-1C3E-4850-B9B5-CFF603A02DE3}"/>
              </a:ext>
            </a:extLst>
          </p:cNvPr>
          <p:cNvSpPr>
            <a:spLocks/>
          </p:cNvSpPr>
          <p:nvPr/>
        </p:nvSpPr>
        <p:spPr bwMode="auto">
          <a:xfrm>
            <a:off x="4250717" y="4173739"/>
            <a:ext cx="2812056" cy="554897"/>
          </a:xfrm>
          <a:custGeom>
            <a:avLst/>
            <a:gdLst>
              <a:gd name="T0" fmla="*/ 0 w 973"/>
              <a:gd name="T1" fmla="*/ 95 h 192"/>
              <a:gd name="T2" fmla="*/ 52 w 973"/>
              <a:gd name="T3" fmla="*/ 0 h 192"/>
              <a:gd name="T4" fmla="*/ 52 w 973"/>
              <a:gd name="T5" fmla="*/ 31 h 192"/>
              <a:gd name="T6" fmla="*/ 973 w 973"/>
              <a:gd name="T7" fmla="*/ 31 h 192"/>
              <a:gd name="T8" fmla="*/ 973 w 973"/>
              <a:gd name="T9" fmla="*/ 164 h 192"/>
              <a:gd name="T10" fmla="*/ 52 w 973"/>
              <a:gd name="T11" fmla="*/ 164 h 192"/>
              <a:gd name="T12" fmla="*/ 52 w 973"/>
              <a:gd name="T13" fmla="*/ 192 h 192"/>
              <a:gd name="T14" fmla="*/ 0 w 973"/>
              <a:gd name="T15" fmla="*/ 95 h 192"/>
              <a:gd name="T16" fmla="*/ 0 w 973"/>
              <a:gd name="T17" fmla="*/ 95 h 192"/>
              <a:gd name="T18" fmla="*/ 0 w 973"/>
              <a:gd name="T19" fmla="*/ 95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73" h="192">
                <a:moveTo>
                  <a:pt x="0" y="95"/>
                </a:moveTo>
                <a:lnTo>
                  <a:pt x="52" y="0"/>
                </a:lnTo>
                <a:lnTo>
                  <a:pt x="52" y="31"/>
                </a:lnTo>
                <a:lnTo>
                  <a:pt x="973" y="31"/>
                </a:lnTo>
                <a:lnTo>
                  <a:pt x="973" y="164"/>
                </a:lnTo>
                <a:lnTo>
                  <a:pt x="52" y="164"/>
                </a:lnTo>
                <a:lnTo>
                  <a:pt x="52" y="192"/>
                </a:lnTo>
                <a:lnTo>
                  <a:pt x="0" y="95"/>
                </a:lnTo>
                <a:lnTo>
                  <a:pt x="0" y="95"/>
                </a:lnTo>
                <a:lnTo>
                  <a:pt x="0" y="9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8" name="Freeform 4">
            <a:extLst>
              <a:ext uri="{FF2B5EF4-FFF2-40B4-BE49-F238E27FC236}">
                <a16:creationId xmlns:a16="http://schemas.microsoft.com/office/drawing/2014/main" id="{3DBDDDBA-3967-4E8F-AE86-87C623A034EF}"/>
              </a:ext>
            </a:extLst>
          </p:cNvPr>
          <p:cNvSpPr>
            <a:spLocks/>
          </p:cNvSpPr>
          <p:nvPr/>
        </p:nvSpPr>
        <p:spPr bwMode="auto">
          <a:xfrm>
            <a:off x="7223000" y="4173739"/>
            <a:ext cx="2812056" cy="554897"/>
          </a:xfrm>
          <a:custGeom>
            <a:avLst/>
            <a:gdLst>
              <a:gd name="T0" fmla="*/ 0 w 973"/>
              <a:gd name="T1" fmla="*/ 95 h 192"/>
              <a:gd name="T2" fmla="*/ 52 w 973"/>
              <a:gd name="T3" fmla="*/ 0 h 192"/>
              <a:gd name="T4" fmla="*/ 52 w 973"/>
              <a:gd name="T5" fmla="*/ 31 h 192"/>
              <a:gd name="T6" fmla="*/ 973 w 973"/>
              <a:gd name="T7" fmla="*/ 31 h 192"/>
              <a:gd name="T8" fmla="*/ 973 w 973"/>
              <a:gd name="T9" fmla="*/ 164 h 192"/>
              <a:gd name="T10" fmla="*/ 52 w 973"/>
              <a:gd name="T11" fmla="*/ 164 h 192"/>
              <a:gd name="T12" fmla="*/ 52 w 973"/>
              <a:gd name="T13" fmla="*/ 192 h 192"/>
              <a:gd name="T14" fmla="*/ 0 w 973"/>
              <a:gd name="T15" fmla="*/ 95 h 192"/>
              <a:gd name="T16" fmla="*/ 0 w 973"/>
              <a:gd name="T17" fmla="*/ 95 h 192"/>
              <a:gd name="T18" fmla="*/ 0 w 973"/>
              <a:gd name="T19" fmla="*/ 95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73" h="192">
                <a:moveTo>
                  <a:pt x="0" y="95"/>
                </a:moveTo>
                <a:lnTo>
                  <a:pt x="52" y="0"/>
                </a:lnTo>
                <a:lnTo>
                  <a:pt x="52" y="31"/>
                </a:lnTo>
                <a:lnTo>
                  <a:pt x="973" y="31"/>
                </a:lnTo>
                <a:lnTo>
                  <a:pt x="973" y="164"/>
                </a:lnTo>
                <a:lnTo>
                  <a:pt x="52" y="164"/>
                </a:lnTo>
                <a:lnTo>
                  <a:pt x="52" y="192"/>
                </a:lnTo>
                <a:lnTo>
                  <a:pt x="0" y="95"/>
                </a:lnTo>
                <a:lnTo>
                  <a:pt x="0" y="95"/>
                </a:lnTo>
                <a:lnTo>
                  <a:pt x="0" y="9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20232925-931C-4A74-B921-E76982EF80C4}"/>
              </a:ext>
            </a:extLst>
          </p:cNvPr>
          <p:cNvSpPr>
            <a:spLocks/>
          </p:cNvSpPr>
          <p:nvPr/>
        </p:nvSpPr>
        <p:spPr bwMode="auto">
          <a:xfrm>
            <a:off x="7914038" y="2023511"/>
            <a:ext cx="3207999" cy="2705123"/>
          </a:xfrm>
          <a:custGeom>
            <a:avLst/>
            <a:gdLst>
              <a:gd name="T0" fmla="*/ 374 w 469"/>
              <a:gd name="T1" fmla="*/ 0 h 394"/>
              <a:gd name="T2" fmla="*/ 0 w 469"/>
              <a:gd name="T3" fmla="*/ 0 h 394"/>
              <a:gd name="T4" fmla="*/ 0 w 469"/>
              <a:gd name="T5" fmla="*/ 57 h 394"/>
              <a:gd name="T6" fmla="*/ 374 w 469"/>
              <a:gd name="T7" fmla="*/ 57 h 394"/>
              <a:gd name="T8" fmla="*/ 412 w 469"/>
              <a:gd name="T9" fmla="*/ 95 h 394"/>
              <a:gd name="T10" fmla="*/ 412 w 469"/>
              <a:gd name="T11" fmla="*/ 287 h 394"/>
              <a:gd name="T12" fmla="*/ 374 w 469"/>
              <a:gd name="T13" fmla="*/ 325 h 394"/>
              <a:gd name="T14" fmla="*/ 354 w 469"/>
              <a:gd name="T15" fmla="*/ 325 h 394"/>
              <a:gd name="T16" fmla="*/ 354 w 469"/>
              <a:gd name="T17" fmla="*/ 313 h 394"/>
              <a:gd name="T18" fmla="*/ 332 w 469"/>
              <a:gd name="T19" fmla="*/ 354 h 394"/>
              <a:gd name="T20" fmla="*/ 354 w 469"/>
              <a:gd name="T21" fmla="*/ 394 h 394"/>
              <a:gd name="T22" fmla="*/ 354 w 469"/>
              <a:gd name="T23" fmla="*/ 382 h 394"/>
              <a:gd name="T24" fmla="*/ 374 w 469"/>
              <a:gd name="T25" fmla="*/ 382 h 394"/>
              <a:gd name="T26" fmla="*/ 469 w 469"/>
              <a:gd name="T27" fmla="*/ 287 h 394"/>
              <a:gd name="T28" fmla="*/ 469 w 469"/>
              <a:gd name="T29" fmla="*/ 95 h 394"/>
              <a:gd name="T30" fmla="*/ 374 w 469"/>
              <a:gd name="T31" fmla="*/ 0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469" h="394">
                <a:moveTo>
                  <a:pt x="374" y="0"/>
                </a:moveTo>
                <a:cubicBezTo>
                  <a:pt x="0" y="0"/>
                  <a:pt x="0" y="0"/>
                  <a:pt x="0" y="0"/>
                </a:cubicBezTo>
                <a:cubicBezTo>
                  <a:pt x="0" y="57"/>
                  <a:pt x="0" y="57"/>
                  <a:pt x="0" y="57"/>
                </a:cubicBezTo>
                <a:cubicBezTo>
                  <a:pt x="374" y="57"/>
                  <a:pt x="374" y="57"/>
                  <a:pt x="374" y="57"/>
                </a:cubicBezTo>
                <a:cubicBezTo>
                  <a:pt x="395" y="57"/>
                  <a:pt x="412" y="74"/>
                  <a:pt x="412" y="95"/>
                </a:cubicBezTo>
                <a:cubicBezTo>
                  <a:pt x="412" y="287"/>
                  <a:pt x="412" y="287"/>
                  <a:pt x="412" y="287"/>
                </a:cubicBezTo>
                <a:cubicBezTo>
                  <a:pt x="412" y="308"/>
                  <a:pt x="395" y="325"/>
                  <a:pt x="374" y="325"/>
                </a:cubicBezTo>
                <a:cubicBezTo>
                  <a:pt x="354" y="325"/>
                  <a:pt x="354" y="325"/>
                  <a:pt x="354" y="325"/>
                </a:cubicBezTo>
                <a:cubicBezTo>
                  <a:pt x="354" y="313"/>
                  <a:pt x="354" y="313"/>
                  <a:pt x="354" y="313"/>
                </a:cubicBezTo>
                <a:cubicBezTo>
                  <a:pt x="332" y="354"/>
                  <a:pt x="332" y="354"/>
                  <a:pt x="332" y="354"/>
                </a:cubicBezTo>
                <a:cubicBezTo>
                  <a:pt x="354" y="394"/>
                  <a:pt x="354" y="394"/>
                  <a:pt x="354" y="394"/>
                </a:cubicBezTo>
                <a:cubicBezTo>
                  <a:pt x="354" y="382"/>
                  <a:pt x="354" y="382"/>
                  <a:pt x="354" y="382"/>
                </a:cubicBezTo>
                <a:cubicBezTo>
                  <a:pt x="374" y="382"/>
                  <a:pt x="374" y="382"/>
                  <a:pt x="374" y="382"/>
                </a:cubicBezTo>
                <a:cubicBezTo>
                  <a:pt x="427" y="382"/>
                  <a:pt x="469" y="339"/>
                  <a:pt x="469" y="287"/>
                </a:cubicBezTo>
                <a:cubicBezTo>
                  <a:pt x="469" y="95"/>
                  <a:pt x="469" y="95"/>
                  <a:pt x="469" y="95"/>
                </a:cubicBezTo>
                <a:cubicBezTo>
                  <a:pt x="469" y="43"/>
                  <a:pt x="427" y="0"/>
                  <a:pt x="374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10" name="Freeform 6">
            <a:extLst>
              <a:ext uri="{FF2B5EF4-FFF2-40B4-BE49-F238E27FC236}">
                <a16:creationId xmlns:a16="http://schemas.microsoft.com/office/drawing/2014/main" id="{D3B3CFE5-CAE5-40D2-AB74-B87E19A2F297}"/>
              </a:ext>
            </a:extLst>
          </p:cNvPr>
          <p:cNvSpPr>
            <a:spLocks/>
          </p:cNvSpPr>
          <p:nvPr/>
        </p:nvSpPr>
        <p:spPr bwMode="auto">
          <a:xfrm>
            <a:off x="4756018" y="1939700"/>
            <a:ext cx="2812056" cy="557787"/>
          </a:xfrm>
          <a:custGeom>
            <a:avLst/>
            <a:gdLst>
              <a:gd name="T0" fmla="*/ 973 w 973"/>
              <a:gd name="T1" fmla="*/ 95 h 193"/>
              <a:gd name="T2" fmla="*/ 921 w 973"/>
              <a:gd name="T3" fmla="*/ 0 h 193"/>
              <a:gd name="T4" fmla="*/ 921 w 973"/>
              <a:gd name="T5" fmla="*/ 31 h 193"/>
              <a:gd name="T6" fmla="*/ 0 w 973"/>
              <a:gd name="T7" fmla="*/ 31 h 193"/>
              <a:gd name="T8" fmla="*/ 0 w 973"/>
              <a:gd name="T9" fmla="*/ 164 h 193"/>
              <a:gd name="T10" fmla="*/ 921 w 973"/>
              <a:gd name="T11" fmla="*/ 164 h 193"/>
              <a:gd name="T12" fmla="*/ 921 w 973"/>
              <a:gd name="T13" fmla="*/ 193 h 193"/>
              <a:gd name="T14" fmla="*/ 973 w 973"/>
              <a:gd name="T15" fmla="*/ 95 h 193"/>
              <a:gd name="T16" fmla="*/ 973 w 973"/>
              <a:gd name="T17" fmla="*/ 95 h 193"/>
              <a:gd name="T18" fmla="*/ 973 w 973"/>
              <a:gd name="T19" fmla="*/ 95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73" h="193">
                <a:moveTo>
                  <a:pt x="973" y="95"/>
                </a:moveTo>
                <a:lnTo>
                  <a:pt x="921" y="0"/>
                </a:lnTo>
                <a:lnTo>
                  <a:pt x="921" y="31"/>
                </a:lnTo>
                <a:lnTo>
                  <a:pt x="0" y="31"/>
                </a:lnTo>
                <a:lnTo>
                  <a:pt x="0" y="164"/>
                </a:lnTo>
                <a:lnTo>
                  <a:pt x="921" y="164"/>
                </a:lnTo>
                <a:lnTo>
                  <a:pt x="921" y="193"/>
                </a:lnTo>
                <a:lnTo>
                  <a:pt x="973" y="95"/>
                </a:lnTo>
                <a:lnTo>
                  <a:pt x="973" y="95"/>
                </a:lnTo>
                <a:lnTo>
                  <a:pt x="973" y="9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11" name="Freeform 7">
            <a:extLst>
              <a:ext uri="{FF2B5EF4-FFF2-40B4-BE49-F238E27FC236}">
                <a16:creationId xmlns:a16="http://schemas.microsoft.com/office/drawing/2014/main" id="{3273442C-DEC6-473E-AF97-273097E5F3F4}"/>
              </a:ext>
            </a:extLst>
          </p:cNvPr>
          <p:cNvSpPr>
            <a:spLocks/>
          </p:cNvSpPr>
          <p:nvPr/>
        </p:nvSpPr>
        <p:spPr bwMode="auto">
          <a:xfrm>
            <a:off x="1648825" y="1939700"/>
            <a:ext cx="2812056" cy="557787"/>
          </a:xfrm>
          <a:custGeom>
            <a:avLst/>
            <a:gdLst>
              <a:gd name="T0" fmla="*/ 973 w 973"/>
              <a:gd name="T1" fmla="*/ 95 h 193"/>
              <a:gd name="T2" fmla="*/ 918 w 973"/>
              <a:gd name="T3" fmla="*/ 0 h 193"/>
              <a:gd name="T4" fmla="*/ 918 w 973"/>
              <a:gd name="T5" fmla="*/ 31 h 193"/>
              <a:gd name="T6" fmla="*/ 0 w 973"/>
              <a:gd name="T7" fmla="*/ 31 h 193"/>
              <a:gd name="T8" fmla="*/ 0 w 973"/>
              <a:gd name="T9" fmla="*/ 164 h 193"/>
              <a:gd name="T10" fmla="*/ 918 w 973"/>
              <a:gd name="T11" fmla="*/ 164 h 193"/>
              <a:gd name="T12" fmla="*/ 918 w 973"/>
              <a:gd name="T13" fmla="*/ 193 h 193"/>
              <a:gd name="T14" fmla="*/ 973 w 973"/>
              <a:gd name="T15" fmla="*/ 95 h 193"/>
              <a:gd name="T16" fmla="*/ 973 w 973"/>
              <a:gd name="T17" fmla="*/ 95 h 193"/>
              <a:gd name="T18" fmla="*/ 973 w 973"/>
              <a:gd name="T19" fmla="*/ 95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973" h="193">
                <a:moveTo>
                  <a:pt x="973" y="95"/>
                </a:moveTo>
                <a:lnTo>
                  <a:pt x="918" y="0"/>
                </a:lnTo>
                <a:lnTo>
                  <a:pt x="918" y="31"/>
                </a:lnTo>
                <a:lnTo>
                  <a:pt x="0" y="31"/>
                </a:lnTo>
                <a:lnTo>
                  <a:pt x="0" y="164"/>
                </a:lnTo>
                <a:lnTo>
                  <a:pt x="918" y="164"/>
                </a:lnTo>
                <a:lnTo>
                  <a:pt x="918" y="193"/>
                </a:lnTo>
                <a:lnTo>
                  <a:pt x="973" y="95"/>
                </a:lnTo>
                <a:lnTo>
                  <a:pt x="973" y="95"/>
                </a:lnTo>
                <a:lnTo>
                  <a:pt x="973" y="95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  <a:sym typeface="Century Gothic" panose="020B0502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DE58782-BC52-4ACE-8B86-66E1BAD7F674}"/>
              </a:ext>
            </a:extLst>
          </p:cNvPr>
          <p:cNvSpPr txBox="1"/>
          <p:nvPr/>
        </p:nvSpPr>
        <p:spPr>
          <a:xfrm>
            <a:off x="1822952" y="2731606"/>
            <a:ext cx="1549335" cy="338554"/>
          </a:xfrm>
          <a:prstGeom prst="rect">
            <a:avLst/>
          </a:prstGeom>
          <a:ln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none" rtlCol="0" anchor="t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bg1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Open Sans" charset="0"/>
                <a:cs typeface="Open Sans" charset="0"/>
                <a:sym typeface="Century Gothic" panose="020B0502020202020204" pitchFamily="34" charset="0"/>
              </a:rPr>
              <a:t>Call For Evidence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233F019-1C7F-45A4-B3E4-B563F660E4E7}"/>
              </a:ext>
            </a:extLst>
          </p:cNvPr>
          <p:cNvSpPr/>
          <p:nvPr/>
        </p:nvSpPr>
        <p:spPr>
          <a:xfrm>
            <a:off x="1822952" y="3008478"/>
            <a:ext cx="2270376" cy="31745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Open Sans" charset="0"/>
                <a:cs typeface="Open Sans" charset="0"/>
                <a:sym typeface="Century Gothic" panose="020B0502020202020204" pitchFamily="34" charset="0"/>
              </a:rPr>
              <a:t>Launched November 2022</a:t>
            </a:r>
            <a:r>
              <a:rPr kumimoji="0" lang="id-ID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Open Sans" charset="0"/>
                <a:cs typeface="Open Sans" charset="0"/>
                <a:sym typeface="Century Gothic" panose="020B0502020202020204" pitchFamily="34" charset="0"/>
              </a:rPr>
              <a:t>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33BAFA4-7694-44E1-8E19-7B6D7079F9FB}"/>
              </a:ext>
            </a:extLst>
          </p:cNvPr>
          <p:cNvSpPr txBox="1"/>
          <p:nvPr/>
        </p:nvSpPr>
        <p:spPr>
          <a:xfrm>
            <a:off x="4982353" y="2658529"/>
            <a:ext cx="1579087" cy="338554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bg1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Open Sans" charset="0"/>
                <a:cs typeface="Open Sans" charset="0"/>
                <a:sym typeface="Century Gothic" panose="020B0502020202020204" pitchFamily="34" charset="0"/>
              </a:rPr>
              <a:t>Lived Experience 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FD8C8DA-2B46-4D6A-8364-15B72B449E8F}"/>
              </a:ext>
            </a:extLst>
          </p:cNvPr>
          <p:cNvSpPr/>
          <p:nvPr/>
        </p:nvSpPr>
        <p:spPr>
          <a:xfrm>
            <a:off x="4982353" y="2968947"/>
            <a:ext cx="2270376" cy="7914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Open Sans" charset="0"/>
                <a:cs typeface="Open Sans" charset="0"/>
                <a:sym typeface="Century Gothic" panose="020B0502020202020204" pitchFamily="34" charset="0"/>
              </a:rPr>
              <a:t>Work with partners and key stakeholders January to August 2023</a:t>
            </a:r>
            <a:endParaRPr kumimoji="0" lang="id-ID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Open Sans" charset="0"/>
              <a:cs typeface="Open Sans" charset="0"/>
              <a:sym typeface="Century Gothic" panose="020B0502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DF182E5-40F1-452F-AD5A-F63B7F6BC022}"/>
              </a:ext>
            </a:extLst>
          </p:cNvPr>
          <p:cNvSpPr txBox="1"/>
          <p:nvPr/>
        </p:nvSpPr>
        <p:spPr>
          <a:xfrm>
            <a:off x="8085717" y="2658529"/>
            <a:ext cx="2556149" cy="338554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bg1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Open Sans" charset="0"/>
                <a:cs typeface="Open Sans" charset="0"/>
                <a:sym typeface="Century Gothic" panose="020B0502020202020204" pitchFamily="34" charset="0"/>
              </a:rPr>
              <a:t>Identify Risk &amp; Opportunities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9F4A216-502C-45F2-A77F-5A7151C7A5A2}"/>
              </a:ext>
            </a:extLst>
          </p:cNvPr>
          <p:cNvSpPr/>
          <p:nvPr/>
        </p:nvSpPr>
        <p:spPr>
          <a:xfrm>
            <a:off x="8085717" y="2968947"/>
            <a:ext cx="2270376" cy="31745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Open Sans" charset="0"/>
                <a:cs typeface="Open Sans" charset="0"/>
                <a:sym typeface="Century Gothic" panose="020B0502020202020204" pitchFamily="34" charset="0"/>
              </a:rPr>
              <a:t>Spring 2023</a:t>
            </a:r>
            <a:endParaRPr kumimoji="0" lang="id-ID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Open Sans" charset="0"/>
              <a:cs typeface="Open Sans" charset="0"/>
              <a:sym typeface="Century Gothic" panose="020B0502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6330C48-520C-4BEB-B18E-2AD001B437D8}"/>
              </a:ext>
            </a:extLst>
          </p:cNvPr>
          <p:cNvSpPr txBox="1"/>
          <p:nvPr/>
        </p:nvSpPr>
        <p:spPr>
          <a:xfrm>
            <a:off x="7990751" y="4977857"/>
            <a:ext cx="2543902" cy="338554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bg1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Open Sans" charset="0"/>
                <a:cs typeface="Open Sans" charset="0"/>
                <a:sym typeface="Century Gothic" panose="020B0502020202020204" pitchFamily="34" charset="0"/>
              </a:rPr>
              <a:t>Assess Risks &amp; Opportunities 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F98F6-2985-44EE-8C22-43D23D6CFB68}"/>
              </a:ext>
            </a:extLst>
          </p:cNvPr>
          <p:cNvSpPr/>
          <p:nvPr/>
        </p:nvSpPr>
        <p:spPr>
          <a:xfrm>
            <a:off x="7321117" y="5291559"/>
            <a:ext cx="2270376" cy="317459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Open Sans" charset="0"/>
                <a:cs typeface="Open Sans" charset="0"/>
                <a:sym typeface="Century Gothic" panose="020B0502020202020204" pitchFamily="34" charset="0"/>
              </a:rPr>
              <a:t>Summer/autumn 2023</a:t>
            </a:r>
            <a:endParaRPr kumimoji="0" lang="id-ID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Open Sans" charset="0"/>
              <a:cs typeface="Open Sans" charset="0"/>
              <a:sym typeface="Century Gothic" panose="020B0502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FDAB3D0-A0A0-4ADF-82AF-158335A56EB9}"/>
              </a:ext>
            </a:extLst>
          </p:cNvPr>
          <p:cNvSpPr txBox="1"/>
          <p:nvPr/>
        </p:nvSpPr>
        <p:spPr>
          <a:xfrm>
            <a:off x="5885217" y="4953384"/>
            <a:ext cx="766172" cy="338554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bg1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Open Sans" charset="0"/>
                <a:cs typeface="Open Sans" charset="0"/>
                <a:sym typeface="Century Gothic" panose="020B0502020202020204" pitchFamily="34" charset="0"/>
              </a:rPr>
              <a:t>Publish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43DC2C2-BCAD-4234-85E3-22E236156CCA}"/>
              </a:ext>
            </a:extLst>
          </p:cNvPr>
          <p:cNvSpPr/>
          <p:nvPr/>
        </p:nvSpPr>
        <p:spPr>
          <a:xfrm>
            <a:off x="4383480" y="5263802"/>
            <a:ext cx="2270376" cy="55444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Open Sans" charset="0"/>
                <a:cs typeface="Open Sans" charset="0"/>
                <a:sym typeface="Century Gothic" panose="020B0502020202020204" pitchFamily="34" charset="0"/>
              </a:rPr>
              <a:t>November 2023 – phase 1 of RA – regional wide event </a:t>
            </a:r>
            <a:r>
              <a:rPr kumimoji="0" lang="id-ID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Open Sans" charset="0"/>
                <a:cs typeface="Open Sans" charset="0"/>
                <a:sym typeface="Century Gothic" panose="020B0502020202020204" pitchFamily="34" charset="0"/>
              </a:rPr>
              <a:t>.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2806140-2B17-4ED9-9038-A3AAFBE0B74D}"/>
              </a:ext>
            </a:extLst>
          </p:cNvPr>
          <p:cNvSpPr txBox="1"/>
          <p:nvPr/>
        </p:nvSpPr>
        <p:spPr>
          <a:xfrm>
            <a:off x="1657347" y="4953384"/>
            <a:ext cx="1957395" cy="338554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bg1"/>
                </a:solidFill>
                <a:latin typeface="Poppins SemiBold" panose="02000000000000000000" pitchFamily="2" charset="0"/>
                <a:cs typeface="Poppins SemiBold" panose="02000000000000000000" pitchFamily="2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Open Sans" charset="0"/>
                <a:cs typeface="Open Sans" charset="0"/>
                <a:sym typeface="Century Gothic" panose="020B0502020202020204" pitchFamily="34" charset="0"/>
              </a:rPr>
              <a:t>Plan for phase 2 of RA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77EC1FE-164D-4E3E-8F67-65322CFD461B}"/>
              </a:ext>
            </a:extLst>
          </p:cNvPr>
          <p:cNvSpPr/>
          <p:nvPr/>
        </p:nvSpPr>
        <p:spPr>
          <a:xfrm>
            <a:off x="1346833" y="5263802"/>
            <a:ext cx="2270376" cy="79143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Open Sans" charset="0"/>
                <a:cs typeface="Open Sans" charset="0"/>
                <a:sym typeface="Century Gothic" panose="020B0502020202020204" pitchFamily="34" charset="0"/>
              </a:rPr>
              <a:t>From phase 1 conclusions identify priority areas for further assessment</a:t>
            </a:r>
            <a:endParaRPr kumimoji="0" lang="id-ID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Open Sans" charset="0"/>
              <a:cs typeface="Open Sans" charset="0"/>
              <a:sym typeface="Century Gothic" panose="020B0502020202020204" pitchFamily="34" charset="0"/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640D30A8-EB78-4392-AB0D-F0DCDA6321A5}"/>
              </a:ext>
            </a:extLst>
          </p:cNvPr>
          <p:cNvSpPr/>
          <p:nvPr/>
        </p:nvSpPr>
        <p:spPr>
          <a:xfrm>
            <a:off x="1150993" y="1772769"/>
            <a:ext cx="799829" cy="824133"/>
          </a:xfrm>
          <a:prstGeom prst="roundRect">
            <a:avLst/>
          </a:prstGeom>
          <a:solidFill>
            <a:schemeClr val="accent1"/>
          </a:solidFill>
          <a:ln w="5715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DE8974F7-9986-4751-8EBD-83A6D99D4DB4}"/>
              </a:ext>
            </a:extLst>
          </p:cNvPr>
          <p:cNvSpPr/>
          <p:nvPr/>
        </p:nvSpPr>
        <p:spPr>
          <a:xfrm>
            <a:off x="4141952" y="1772769"/>
            <a:ext cx="799829" cy="824133"/>
          </a:xfrm>
          <a:prstGeom prst="roundRect">
            <a:avLst/>
          </a:prstGeom>
          <a:solidFill>
            <a:schemeClr val="accent2"/>
          </a:solidFill>
          <a:ln w="5715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3AF61727-4994-4936-9F9F-BE2DF18B419F}"/>
              </a:ext>
            </a:extLst>
          </p:cNvPr>
          <p:cNvSpPr/>
          <p:nvPr/>
        </p:nvSpPr>
        <p:spPr>
          <a:xfrm>
            <a:off x="7250221" y="1772769"/>
            <a:ext cx="799829" cy="824133"/>
          </a:xfrm>
          <a:prstGeom prst="roundRect">
            <a:avLst/>
          </a:prstGeom>
          <a:solidFill>
            <a:schemeClr val="accent3"/>
          </a:solidFill>
          <a:ln w="5715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4BC6111A-F2A3-49CA-B3F6-AFFAFCFDE129}"/>
              </a:ext>
            </a:extLst>
          </p:cNvPr>
          <p:cNvSpPr/>
          <p:nvPr/>
        </p:nvSpPr>
        <p:spPr>
          <a:xfrm flipH="1">
            <a:off x="3788189" y="4026282"/>
            <a:ext cx="799829" cy="824133"/>
          </a:xfrm>
          <a:prstGeom prst="roundRect">
            <a:avLst/>
          </a:prstGeom>
          <a:solidFill>
            <a:schemeClr val="accent3"/>
          </a:solidFill>
          <a:ln w="5715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D187006D-E535-4C74-8EFF-481B257FD369}"/>
              </a:ext>
            </a:extLst>
          </p:cNvPr>
          <p:cNvSpPr/>
          <p:nvPr/>
        </p:nvSpPr>
        <p:spPr>
          <a:xfrm flipH="1">
            <a:off x="6753331" y="4026282"/>
            <a:ext cx="799829" cy="824133"/>
          </a:xfrm>
          <a:prstGeom prst="roundRect">
            <a:avLst/>
          </a:prstGeom>
          <a:solidFill>
            <a:schemeClr val="accent2"/>
          </a:solidFill>
          <a:ln w="5715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0F7E0743-173C-4188-B90F-2322BB9DBD7D}"/>
              </a:ext>
            </a:extLst>
          </p:cNvPr>
          <p:cNvSpPr/>
          <p:nvPr/>
        </p:nvSpPr>
        <p:spPr>
          <a:xfrm flipH="1">
            <a:off x="9553455" y="4026282"/>
            <a:ext cx="799829" cy="824133"/>
          </a:xfrm>
          <a:prstGeom prst="roundRect">
            <a:avLst/>
          </a:prstGeom>
          <a:solidFill>
            <a:schemeClr val="accent1"/>
          </a:solidFill>
          <a:ln w="5715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546A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0622785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63029F5-59FE-4C2A-B95A-22259519BE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6037" y="1409734"/>
            <a:ext cx="5540414" cy="3323987"/>
          </a:xfrm>
        </p:spPr>
        <p:txBody>
          <a:bodyPr/>
          <a:lstStyle/>
          <a:p>
            <a:r>
              <a:rPr lang="en-GB" sz="4800" spc="300">
                <a:solidFill>
                  <a:schemeClr val="accent2"/>
                </a:solidFill>
                <a:latin typeface="Abadi" panose="020B0604020104020204" pitchFamily="34" charset="0"/>
              </a:rPr>
              <a:t>Final Reflections</a:t>
            </a:r>
            <a:br>
              <a:rPr lang="en-GB" sz="4800" spc="300">
                <a:solidFill>
                  <a:schemeClr val="accent2"/>
                </a:solidFill>
                <a:latin typeface="Abadi" panose="020B0604020104020204" pitchFamily="34" charset="0"/>
              </a:rPr>
            </a:br>
            <a:br>
              <a:rPr lang="en-GB" sz="4800" spc="300">
                <a:solidFill>
                  <a:schemeClr val="accent2"/>
                </a:solidFill>
                <a:latin typeface="Abadi" panose="020B0604020104020204" pitchFamily="34" charset="0"/>
              </a:rPr>
            </a:br>
            <a:r>
              <a:rPr lang="en-GB" sz="2400">
                <a:solidFill>
                  <a:schemeClr val="accent2"/>
                </a:solidFill>
              </a:rPr>
              <a:t>- Adaptation is an iterative journey</a:t>
            </a:r>
            <a:br>
              <a:rPr lang="en-GB" sz="2400">
                <a:solidFill>
                  <a:schemeClr val="accent2"/>
                </a:solidFill>
              </a:rPr>
            </a:br>
            <a:br>
              <a:rPr lang="en-GB" sz="2400">
                <a:solidFill>
                  <a:schemeClr val="accent2"/>
                </a:solidFill>
              </a:rPr>
            </a:br>
            <a:r>
              <a:rPr lang="en-GB" sz="2400">
                <a:solidFill>
                  <a:schemeClr val="accent2"/>
                </a:solidFill>
              </a:rPr>
              <a:t>- Adaptation needs to be imbedded in everything we do</a:t>
            </a:r>
            <a:br>
              <a:rPr lang="en-GB" sz="2400">
                <a:solidFill>
                  <a:schemeClr val="accent2"/>
                </a:solidFill>
              </a:rPr>
            </a:br>
            <a:br>
              <a:rPr lang="en-GB" sz="2400">
                <a:solidFill>
                  <a:schemeClr val="accent2"/>
                </a:solidFill>
              </a:rPr>
            </a:br>
            <a:r>
              <a:rPr lang="en-GB" sz="2400">
                <a:solidFill>
                  <a:schemeClr val="accent2"/>
                </a:solidFill>
              </a:rPr>
              <a:t>- Adaptation = Business continuity </a:t>
            </a:r>
          </a:p>
        </p:txBody>
      </p:sp>
      <p:pic>
        <p:nvPicPr>
          <p:cNvPr id="6" name="Picture Placeholder 5" descr="A picture containing outdoor, water, sky, scene&#10;&#10;Description automatically generated">
            <a:extLst>
              <a:ext uri="{FF2B5EF4-FFF2-40B4-BE49-F238E27FC236}">
                <a16:creationId xmlns:a16="http://schemas.microsoft.com/office/drawing/2014/main" id="{2E38F5C7-8075-48E6-B2F8-BE9D12D6261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41" r="1664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634966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A12C63E-165E-45DD-9AEA-162B1F5AA85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A12C63E-165E-45DD-9AEA-162B1F5AA8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CCDB605B-D045-48D8-AF88-AFF55139A59E}"/>
              </a:ext>
            </a:extLst>
          </p:cNvPr>
          <p:cNvSpPr txBox="1"/>
          <p:nvPr/>
        </p:nvSpPr>
        <p:spPr>
          <a:xfrm>
            <a:off x="3009431" y="2699385"/>
            <a:ext cx="6173138" cy="1015663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0" b="1" i="0" u="none" strike="noStrike" kern="1200" cap="none" spc="600" normalizeH="0" baseline="0" noProof="0">
                <a:ln>
                  <a:noFill/>
                </a:ln>
                <a:solidFill>
                  <a:srgbClr val="0090B9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Poppins SemiBold" panose="00000700000000000000" pitchFamily="50" charset="0"/>
              </a:rPr>
              <a:t>Thank you</a:t>
            </a:r>
            <a:endParaRPr kumimoji="0" lang="id-ID" sz="6000" b="1" i="0" u="none" strike="noStrike" kern="1200" cap="none" spc="600" normalizeH="0" baseline="0" noProof="0">
              <a:ln>
                <a:noFill/>
              </a:ln>
              <a:solidFill>
                <a:srgbClr val="0090B9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Poppins SemiBold" panose="00000700000000000000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86097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9CBC4A1-39F3-417A-A9E1-6D0FC1F9C5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4" imgW="425" imgH="426" progId="TCLayout.ActiveDocument.1">
                  <p:embed/>
                </p:oleObj>
              </mc:Choice>
              <mc:Fallback>
                <p:oleObj name="think-cell Slide" r:id="rId4" imgW="425" imgH="42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9CBC4A1-39F3-417A-A9E1-6D0FC1F9C5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D32C9BF-EC28-4AF1-B238-8DE7E3A8E5A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8DD4E2F3-F2DB-4BC5-8F78-9806A1E525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1418774"/>
            <a:ext cx="11582400" cy="498598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Partnership Objectives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93897406-7C70-4F6A-89E6-4DE38DDA5A7F}"/>
              </a:ext>
            </a:extLst>
          </p:cNvPr>
          <p:cNvGrpSpPr/>
          <p:nvPr/>
        </p:nvGrpSpPr>
        <p:grpSpPr>
          <a:xfrm>
            <a:off x="10696601" y="257088"/>
            <a:ext cx="1190600" cy="498598"/>
            <a:chOff x="10696601" y="257088"/>
            <a:chExt cx="1190600" cy="49859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02578BA9-54B5-44BB-9589-D2574C6A4E6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57761"/>
            <a:stretch/>
          </p:blipFill>
          <p:spPr>
            <a:xfrm>
              <a:off x="10696601" y="257088"/>
              <a:ext cx="502894" cy="498598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FBBA9CD-F836-488D-BCF4-BC29AB6303C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2239"/>
            <a:stretch/>
          </p:blipFill>
          <p:spPr>
            <a:xfrm>
              <a:off x="11199495" y="257088"/>
              <a:ext cx="687706" cy="498598"/>
            </a:xfrm>
            <a:prstGeom prst="rect">
              <a:avLst/>
            </a:prstGeom>
          </p:spPr>
        </p:pic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2E2E8D0-DBE9-4385-BB97-75F51BA8ACCF}"/>
              </a:ext>
            </a:extLst>
          </p:cNvPr>
          <p:cNvSpPr txBox="1"/>
          <p:nvPr/>
        </p:nvSpPr>
        <p:spPr>
          <a:xfrm>
            <a:off x="304801" y="2222339"/>
            <a:ext cx="11439526" cy="45238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 a strong knowledge and evidence base, setting out the climate risks and opportunities that will affect the region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acilitate information sharing through a range of resources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dentify opportunities to reduce and overcome these climate risk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velop a shared adaptation strategy and suite of action plan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ort others to use plans to form the basis of projects and activities across the public sector, community, land management and business sector plans, strategies and investments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ort the public sector to embed climate change adaptation throughout their business</a:t>
            </a:r>
          </a:p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Avenir Next LT Pro" panose="020B05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upport community climate change action.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4075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A4258">
            <a:alpha val="31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B0A4442-9B1D-4669-9A31-8AA3F72A7A1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432" b="10072"/>
          <a:stretch/>
        </p:blipFill>
        <p:spPr>
          <a:xfrm>
            <a:off x="1069842" y="0"/>
            <a:ext cx="766775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44958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74BC4FD7-337C-4FED-9234-98708EB3EBF5}"/>
              </a:ext>
            </a:extLst>
          </p:cNvPr>
          <p:cNvSpPr/>
          <p:nvPr/>
        </p:nvSpPr>
        <p:spPr>
          <a:xfrm>
            <a:off x="669131" y="216521"/>
            <a:ext cx="1826419" cy="1156259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Data provided by agencies and public bodies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CDD92AC-0B5E-4597-A98D-ABC8F98E1F1C}"/>
              </a:ext>
            </a:extLst>
          </p:cNvPr>
          <p:cNvSpPr/>
          <p:nvPr/>
        </p:nvSpPr>
        <p:spPr>
          <a:xfrm>
            <a:off x="2405062" y="502436"/>
            <a:ext cx="1588395" cy="907262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oastal Change Assessment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80D87A42-0355-44E8-831E-904321AC10C7}"/>
              </a:ext>
            </a:extLst>
          </p:cNvPr>
          <p:cNvSpPr/>
          <p:nvPr/>
        </p:nvSpPr>
        <p:spPr>
          <a:xfrm>
            <a:off x="669132" y="1257301"/>
            <a:ext cx="1435893" cy="619125"/>
          </a:xfrm>
          <a:prstGeom prst="ellipse">
            <a:avLst/>
          </a:prstGeom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OpenCLIM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C405BCE-6174-45FB-92C5-8253689DFDD5}"/>
              </a:ext>
            </a:extLst>
          </p:cNvPr>
          <p:cNvSpPr/>
          <p:nvPr/>
        </p:nvSpPr>
        <p:spPr>
          <a:xfrm>
            <a:off x="1733550" y="1238250"/>
            <a:ext cx="1485900" cy="1276353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UK Climate Change Risk Assessment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645C3769-47A6-4EBF-AF87-53F3D41BD428}"/>
              </a:ext>
            </a:extLst>
          </p:cNvPr>
          <p:cNvSpPr/>
          <p:nvPr/>
        </p:nvSpPr>
        <p:spPr>
          <a:xfrm>
            <a:off x="9167812" y="276865"/>
            <a:ext cx="1554957" cy="1181100"/>
          </a:xfrm>
          <a:prstGeom prst="ellips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Targeted Engagement with 3</a:t>
            </a:r>
            <a:r>
              <a:rPr kumimoji="0" lang="en-GB" sz="1400" b="0" i="0" u="none" strike="noStrike" kern="1200" cap="none" spc="0" normalizeH="0" baseline="3000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rd</a:t>
            </a: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Sector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8D2C8BE5-42A6-4CA7-9EC9-97F31F6C96B1}"/>
              </a:ext>
            </a:extLst>
          </p:cNvPr>
          <p:cNvSpPr/>
          <p:nvPr/>
        </p:nvSpPr>
        <p:spPr>
          <a:xfrm>
            <a:off x="7837255" y="436498"/>
            <a:ext cx="1554958" cy="1276353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limate Interest Groups, - Climate Hub etc,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36A6DFD9-9D40-45F3-82DE-65906DBC728A}"/>
              </a:ext>
            </a:extLst>
          </p:cNvPr>
          <p:cNvSpPr/>
          <p:nvPr/>
        </p:nvSpPr>
        <p:spPr>
          <a:xfrm>
            <a:off x="8315325" y="1535906"/>
            <a:ext cx="1704975" cy="1404937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ngagement with land managers and businesses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E9538D9-D934-46B0-9C23-D01394BDC60A}"/>
              </a:ext>
            </a:extLst>
          </p:cNvPr>
          <p:cNvSpPr/>
          <p:nvPr/>
        </p:nvSpPr>
        <p:spPr>
          <a:xfrm>
            <a:off x="9705975" y="1208488"/>
            <a:ext cx="2007970" cy="1579956"/>
          </a:xfrm>
          <a:prstGeom prst="ellipse">
            <a:avLst/>
          </a:prstGeom>
          <a:solidFill>
            <a:srgbClr val="00B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eedback from partner led community involvement, e.g. CAT or RLUP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F932DF0F-60E3-4FB5-A981-1773D45669B1}"/>
              </a:ext>
            </a:extLst>
          </p:cNvPr>
          <p:cNvSpPr/>
          <p:nvPr/>
        </p:nvSpPr>
        <p:spPr>
          <a:xfrm>
            <a:off x="3122415" y="1693072"/>
            <a:ext cx="1785937" cy="723900"/>
          </a:xfrm>
          <a:prstGeom prst="round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tage 1 – Gath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Formal data and evidence sources 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ECCFFBAB-87A3-4CB3-B1D8-9976B526BA5F}"/>
              </a:ext>
            </a:extLst>
          </p:cNvPr>
          <p:cNvSpPr/>
          <p:nvPr/>
        </p:nvSpPr>
        <p:spPr>
          <a:xfrm>
            <a:off x="6800850" y="1710929"/>
            <a:ext cx="1647825" cy="723901"/>
          </a:xfrm>
          <a:prstGeom prst="roundRect">
            <a:avLst/>
          </a:prstGeom>
          <a:solidFill>
            <a:srgbClr val="FFC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tage 1 – Gath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vidence &amp; stories of lived experience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47796359-CAE0-4E41-8CF1-27064811A565}"/>
              </a:ext>
            </a:extLst>
          </p:cNvPr>
          <p:cNvSpPr/>
          <p:nvPr/>
        </p:nvSpPr>
        <p:spPr>
          <a:xfrm>
            <a:off x="5014913" y="2917034"/>
            <a:ext cx="1785937" cy="723900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tage 2 – Identif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ross sector risks &amp; opportunities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296F921E-D0E7-462E-A427-165372828A39}"/>
              </a:ext>
            </a:extLst>
          </p:cNvPr>
          <p:cNvSpPr/>
          <p:nvPr/>
        </p:nvSpPr>
        <p:spPr>
          <a:xfrm>
            <a:off x="4995863" y="3935013"/>
            <a:ext cx="1804987" cy="723901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tage 3 – Asse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conomic risks &amp; opportunities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53F8C906-76BD-416D-9A16-DB55F8599C1E}"/>
              </a:ext>
            </a:extLst>
          </p:cNvPr>
          <p:cNvSpPr/>
          <p:nvPr/>
        </p:nvSpPr>
        <p:spPr>
          <a:xfrm>
            <a:off x="5014913" y="4923230"/>
            <a:ext cx="1785937" cy="757241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tage 3 – Asse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Climate Risks &amp; Opportunities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5A59EE77-A76E-47DB-9892-D1989175B210}"/>
              </a:ext>
            </a:extLst>
          </p:cNvPr>
          <p:cNvSpPr/>
          <p:nvPr/>
        </p:nvSpPr>
        <p:spPr>
          <a:xfrm>
            <a:off x="4993481" y="5944787"/>
            <a:ext cx="1804987" cy="723902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Stage 4 – Publish</a:t>
            </a:r>
          </a:p>
        </p:txBody>
      </p:sp>
      <p:sp>
        <p:nvSpPr>
          <p:cNvPr id="19" name="Arrow: Up-Down 18">
            <a:extLst>
              <a:ext uri="{FF2B5EF4-FFF2-40B4-BE49-F238E27FC236}">
                <a16:creationId xmlns:a16="http://schemas.microsoft.com/office/drawing/2014/main" id="{16AADA6C-E553-48F6-BD5F-41333614F61B}"/>
              </a:ext>
            </a:extLst>
          </p:cNvPr>
          <p:cNvSpPr/>
          <p:nvPr/>
        </p:nvSpPr>
        <p:spPr>
          <a:xfrm>
            <a:off x="3024188" y="2524137"/>
            <a:ext cx="1770459" cy="4144552"/>
          </a:xfrm>
          <a:prstGeom prst="upDownArrow">
            <a:avLst>
              <a:gd name="adj1" fmla="val 64135"/>
              <a:gd name="adj2" fmla="val 50000"/>
            </a:avLst>
          </a:prstGeom>
          <a:solidFill>
            <a:srgbClr val="E7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People with experience of formal data &amp; evidence &amp; lived experience are involved throughout this process</a:t>
            </a:r>
          </a:p>
        </p:txBody>
      </p:sp>
      <p:sp>
        <p:nvSpPr>
          <p:cNvPr id="20" name="Flowchart: Alternate Process 19">
            <a:extLst>
              <a:ext uri="{FF2B5EF4-FFF2-40B4-BE49-F238E27FC236}">
                <a16:creationId xmlns:a16="http://schemas.microsoft.com/office/drawing/2014/main" id="{B3651E56-9D1B-4022-B7A5-7C1B079A81DB}"/>
              </a:ext>
            </a:extLst>
          </p:cNvPr>
          <p:cNvSpPr/>
          <p:nvPr/>
        </p:nvSpPr>
        <p:spPr>
          <a:xfrm>
            <a:off x="9608046" y="3302175"/>
            <a:ext cx="2229445" cy="1751065"/>
          </a:xfrm>
          <a:prstGeom prst="flowChartAlternateProcess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Prioritise bringing in lived experience from across the region – involving people, capturing local stories, building awareness &amp; capacity to respond </a:t>
            </a:r>
          </a:p>
        </p:txBody>
      </p:sp>
      <p:sp>
        <p:nvSpPr>
          <p:cNvPr id="21" name="Flowchart: Alternate Process 20">
            <a:extLst>
              <a:ext uri="{FF2B5EF4-FFF2-40B4-BE49-F238E27FC236}">
                <a16:creationId xmlns:a16="http://schemas.microsoft.com/office/drawing/2014/main" id="{78308F0A-5355-40A8-9E7F-D8755AA8DDFF}"/>
              </a:ext>
            </a:extLst>
          </p:cNvPr>
          <p:cNvSpPr/>
          <p:nvPr/>
        </p:nvSpPr>
        <p:spPr>
          <a:xfrm>
            <a:off x="304206" y="2872987"/>
            <a:ext cx="1735931" cy="1470412"/>
          </a:xfrm>
          <a:prstGeom prst="flowChartAlternateProcess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mphasis on using published evidence – adding new regional elements where needed</a:t>
            </a:r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C8462611-29A5-4839-B1BB-2A2173728E9B}"/>
              </a:ext>
            </a:extLst>
          </p:cNvPr>
          <p:cNvCxnSpPr>
            <a:cxnSpLocks/>
          </p:cNvCxnSpPr>
          <p:nvPr/>
        </p:nvCxnSpPr>
        <p:spPr>
          <a:xfrm>
            <a:off x="5022057" y="2372924"/>
            <a:ext cx="635794" cy="500062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D15808C7-CC6B-4C85-B089-69590008D8ED}"/>
              </a:ext>
            </a:extLst>
          </p:cNvPr>
          <p:cNvCxnSpPr>
            <a:cxnSpLocks/>
          </p:cNvCxnSpPr>
          <p:nvPr/>
        </p:nvCxnSpPr>
        <p:spPr>
          <a:xfrm flipH="1">
            <a:off x="6029325" y="2416972"/>
            <a:ext cx="769143" cy="456014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59C203DD-C046-4D05-ABC4-7AFBA7CF17BD}"/>
              </a:ext>
            </a:extLst>
          </p:cNvPr>
          <p:cNvCxnSpPr>
            <a:stCxn id="15" idx="2"/>
            <a:endCxn id="16" idx="0"/>
          </p:cNvCxnSpPr>
          <p:nvPr/>
        </p:nvCxnSpPr>
        <p:spPr>
          <a:xfrm flipH="1">
            <a:off x="5898357" y="3640934"/>
            <a:ext cx="9525" cy="294079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680239F5-0658-438D-BD56-8F426F01D108}"/>
              </a:ext>
            </a:extLst>
          </p:cNvPr>
          <p:cNvCxnSpPr>
            <a:stCxn id="16" idx="2"/>
            <a:endCxn id="17" idx="0"/>
          </p:cNvCxnSpPr>
          <p:nvPr/>
        </p:nvCxnSpPr>
        <p:spPr>
          <a:xfrm>
            <a:off x="5898357" y="4658914"/>
            <a:ext cx="9525" cy="26431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E977BDDB-2279-4ABD-B201-E5FAC3EC1672}"/>
              </a:ext>
            </a:extLst>
          </p:cNvPr>
          <p:cNvCxnSpPr>
            <a:stCxn id="17" idx="2"/>
            <a:endCxn id="18" idx="0"/>
          </p:cNvCxnSpPr>
          <p:nvPr/>
        </p:nvCxnSpPr>
        <p:spPr>
          <a:xfrm flipH="1">
            <a:off x="5895975" y="5680471"/>
            <a:ext cx="11907" cy="264316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C86B4DF-52C5-46AA-939B-2A35EB00CEE8}"/>
              </a:ext>
            </a:extLst>
          </p:cNvPr>
          <p:cNvCxnSpPr>
            <a:cxnSpLocks/>
          </p:cNvCxnSpPr>
          <p:nvPr/>
        </p:nvCxnSpPr>
        <p:spPr>
          <a:xfrm flipV="1">
            <a:off x="1152525" y="2072879"/>
            <a:ext cx="481013" cy="715565"/>
          </a:xfrm>
          <a:prstGeom prst="straightConnector1">
            <a:avLst/>
          </a:prstGeom>
          <a:ln w="57150"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412EDDB7-87F4-4BE8-8CDF-36DC0133D578}"/>
              </a:ext>
            </a:extLst>
          </p:cNvPr>
          <p:cNvCxnSpPr>
            <a:cxnSpLocks/>
          </p:cNvCxnSpPr>
          <p:nvPr/>
        </p:nvCxnSpPr>
        <p:spPr>
          <a:xfrm flipH="1" flipV="1">
            <a:off x="9996339" y="2741109"/>
            <a:ext cx="695622" cy="456003"/>
          </a:xfrm>
          <a:prstGeom prst="straightConnector1">
            <a:avLst/>
          </a:prstGeom>
          <a:ln w="57150">
            <a:solidFill>
              <a:schemeClr val="bg2">
                <a:lumMod val="90000"/>
              </a:schemeClr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20FA6E42-6438-4D44-97A9-A9B398AB322C}"/>
              </a:ext>
            </a:extLst>
          </p:cNvPr>
          <p:cNvSpPr txBox="1"/>
          <p:nvPr/>
        </p:nvSpPr>
        <p:spPr>
          <a:xfrm>
            <a:off x="3993458" y="216521"/>
            <a:ext cx="3747884" cy="120032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ghlan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imate Risk &amp; Opportunit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ssessment Methodology</a:t>
            </a:r>
          </a:p>
        </p:txBody>
      </p:sp>
      <p:pic>
        <p:nvPicPr>
          <p:cNvPr id="32" name="Picture 31">
            <a:extLst>
              <a:ext uri="{FF2B5EF4-FFF2-40B4-BE49-F238E27FC236}">
                <a16:creationId xmlns:a16="http://schemas.microsoft.com/office/drawing/2014/main" id="{89AD04BE-E602-40DC-B30B-78A37E2CEC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17648" y="143111"/>
            <a:ext cx="1227086" cy="51387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285867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3E704FF-29B1-4BBE-A776-3F43A9BE09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17648" y="143111"/>
            <a:ext cx="1227086" cy="513878"/>
          </a:xfrm>
          <a:prstGeom prst="rect">
            <a:avLst/>
          </a:prstGeom>
          <a:ln>
            <a:noFill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C23BFD5-B3F3-43B0-B5D4-C1E80E6EB5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394" y="1229292"/>
            <a:ext cx="2910945" cy="139219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AFDB218-DCDD-4B6F-AFDF-99A3FAE6FAB1}"/>
              </a:ext>
            </a:extLst>
          </p:cNvPr>
          <p:cNvSpPr txBox="1"/>
          <p:nvPr/>
        </p:nvSpPr>
        <p:spPr>
          <a:xfrm>
            <a:off x="537393" y="2604588"/>
            <a:ext cx="291094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Dalneigh Primary School roof dislodged during high winds – December 2021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C2DA505-031E-4F22-A933-1AEE1AC9F0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20535" y="1204107"/>
            <a:ext cx="2725651" cy="154157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99526B9-1068-4E48-8C8D-941C6A99C8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1009" y="3386624"/>
            <a:ext cx="2953570" cy="196166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CB469A14-3FEA-411D-8FCF-05279BC6DD9C}"/>
              </a:ext>
            </a:extLst>
          </p:cNvPr>
          <p:cNvSpPr/>
          <p:nvPr/>
        </p:nvSpPr>
        <p:spPr>
          <a:xfrm>
            <a:off x="6272032" y="4551597"/>
            <a:ext cx="974154" cy="152735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D780CAE-8C05-48D2-B70F-88BB5AE3ED1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21930" y="4503010"/>
            <a:ext cx="2826200" cy="885824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F12A940-F344-477C-821A-1199182063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38106" y="3352625"/>
            <a:ext cx="2725651" cy="75619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5053BB0-4B14-4BEA-97F0-DBF907197BF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10800000" flipH="1" flipV="1">
            <a:off x="282426" y="5758186"/>
            <a:ext cx="3776228" cy="35399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27FE52F-C15D-4398-AE86-0CA8796DB92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558246" y="1171860"/>
            <a:ext cx="2953569" cy="210459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E9E0453-BB1C-481B-A74A-868B84F62D4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46762" y="3079185"/>
            <a:ext cx="3273195" cy="75619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FE7FA4E4-C77E-4F15-9FB9-C281D58575F2}"/>
              </a:ext>
            </a:extLst>
          </p:cNvPr>
          <p:cNvSpPr txBox="1"/>
          <p:nvPr/>
        </p:nvSpPr>
        <p:spPr>
          <a:xfrm>
            <a:off x="282425" y="6191645"/>
            <a:ext cx="264064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Drumnadrochit recording -10.4C - January 2023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93F2BAD-8382-4A03-8BD5-4D5203F2D63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20535" y="4148401"/>
            <a:ext cx="3561130" cy="2274075"/>
          </a:xfrm>
          <a:prstGeom prst="rect">
            <a:avLst/>
          </a:prstGeom>
        </p:spPr>
      </p:pic>
      <p:sp>
        <p:nvSpPr>
          <p:cNvPr id="19" name="Title 4">
            <a:extLst>
              <a:ext uri="{FF2B5EF4-FFF2-40B4-BE49-F238E27FC236}">
                <a16:creationId xmlns:a16="http://schemas.microsoft.com/office/drawing/2014/main" id="{E0887C78-E5F7-466B-85CE-9C5BFE12A402}"/>
              </a:ext>
            </a:extLst>
          </p:cNvPr>
          <p:cNvSpPr txBox="1">
            <a:spLocks/>
          </p:cNvSpPr>
          <p:nvPr/>
        </p:nvSpPr>
        <p:spPr>
          <a:xfrm>
            <a:off x="147266" y="127993"/>
            <a:ext cx="9959260" cy="80755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800" b="0" i="0" u="none" strike="noStrike" kern="1200" cap="none" spc="0" normalizeH="0" baseline="0" noProof="0" dirty="0">
                <a:ln>
                  <a:noFill/>
                </a:ln>
                <a:solidFill>
                  <a:srgbClr val="26B068"/>
                </a:solidFill>
                <a:effectLst/>
                <a:uLnTx/>
                <a:uFillTx/>
                <a:latin typeface="Abadi" panose="020B0604020104020204" pitchFamily="34" charset="0"/>
                <a:ea typeface="+mj-ea"/>
                <a:cs typeface="+mj-cs"/>
              </a:rPr>
              <a:t>How has the Council been impacted?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FDCE5B5-4556-431D-8065-77F7D2F5C7E9}"/>
              </a:ext>
            </a:extLst>
          </p:cNvPr>
          <p:cNvSpPr/>
          <p:nvPr/>
        </p:nvSpPr>
        <p:spPr>
          <a:xfrm>
            <a:off x="2394386" y="3890705"/>
            <a:ext cx="978622" cy="149434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1E20429-830D-4BD1-B1C0-A0B8B93FC36A}"/>
              </a:ext>
            </a:extLst>
          </p:cNvPr>
          <p:cNvSpPr/>
          <p:nvPr/>
        </p:nvSpPr>
        <p:spPr>
          <a:xfrm>
            <a:off x="7090611" y="4684295"/>
            <a:ext cx="974154" cy="17076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44083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Map&#10;&#10;Description automatically generated">
            <a:extLst>
              <a:ext uri="{FF2B5EF4-FFF2-40B4-BE49-F238E27FC236}">
                <a16:creationId xmlns:a16="http://schemas.microsoft.com/office/drawing/2014/main" id="{C4348723-B45C-4218-B7C7-A11512337CC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300" y="263437"/>
            <a:ext cx="6486603" cy="4140385"/>
          </a:xfrm>
          <a:prstGeom prst="rect">
            <a:avLst/>
          </a:prstGeom>
        </p:spPr>
      </p:pic>
      <p:pic>
        <p:nvPicPr>
          <p:cNvPr id="11" name="Picture 10" descr="Map&#10;&#10;Description automatically generated">
            <a:extLst>
              <a:ext uri="{FF2B5EF4-FFF2-40B4-BE49-F238E27FC236}">
                <a16:creationId xmlns:a16="http://schemas.microsoft.com/office/drawing/2014/main" id="{7839B73A-DBE3-4820-9ED6-149BC90E511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3471" y="2349593"/>
            <a:ext cx="6760229" cy="4244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8298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37492475-A8C7-9EEE-FC26-5E82CDAF424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219" y="1091155"/>
            <a:ext cx="3503648" cy="5161062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7381C955-21AB-8E35-9B04-E6B2C6B1CA2F}"/>
              </a:ext>
            </a:extLst>
          </p:cNvPr>
          <p:cNvSpPr/>
          <p:nvPr/>
        </p:nvSpPr>
        <p:spPr>
          <a:xfrm>
            <a:off x="879231" y="1387011"/>
            <a:ext cx="1840523" cy="1294544"/>
          </a:xfrm>
          <a:prstGeom prst="rect">
            <a:avLst/>
          </a:prstGeom>
          <a:noFill/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3ACC009-1080-D1F3-4FC8-3647B1506EBE}"/>
              </a:ext>
            </a:extLst>
          </p:cNvPr>
          <p:cNvSpPr txBox="1"/>
          <p:nvPr/>
        </p:nvSpPr>
        <p:spPr>
          <a:xfrm>
            <a:off x="4037752" y="1014515"/>
            <a:ext cx="35036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max95 anomaly at 2C warm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6B75868-C3EE-3442-2A80-F6B90C9F8E63}"/>
              </a:ext>
            </a:extLst>
          </p:cNvPr>
          <p:cNvSpPr txBox="1"/>
          <p:nvPr/>
        </p:nvSpPr>
        <p:spPr>
          <a:xfrm>
            <a:off x="4191855" y="5101657"/>
            <a:ext cx="288182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Preliminary data shown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877B01E-2CBE-A585-8D64-B812E660BA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91855" y="1387011"/>
            <a:ext cx="4823347" cy="3572432"/>
          </a:xfrm>
          <a:prstGeom prst="rect">
            <a:avLst/>
          </a:prstGeom>
          <a:ln w="28575">
            <a:solidFill>
              <a:schemeClr val="accent3"/>
            </a:solidFill>
          </a:ln>
        </p:spPr>
      </p:pic>
      <p:graphicFrame>
        <p:nvGraphicFramePr>
          <p:cNvPr id="14" name="Table 14">
            <a:extLst>
              <a:ext uri="{FF2B5EF4-FFF2-40B4-BE49-F238E27FC236}">
                <a16:creationId xmlns:a16="http://schemas.microsoft.com/office/drawing/2014/main" id="{CBBE8A0E-0AA5-80FB-9224-E36313227F6D}"/>
              </a:ext>
            </a:extLst>
          </p:cNvPr>
          <p:cNvGraphicFramePr>
            <a:graphicFrameLocks noGrp="1"/>
          </p:cNvGraphicFramePr>
          <p:nvPr/>
        </p:nvGraphicFramePr>
        <p:xfrm>
          <a:off x="9543536" y="1912682"/>
          <a:ext cx="2050586" cy="222504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050586">
                  <a:extLst>
                    <a:ext uri="{9D8B030D-6E8A-4147-A177-3AD203B41FA5}">
                      <a16:colId xmlns:a16="http://schemas.microsoft.com/office/drawing/2014/main" val="98675167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Summary sta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8187437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Mi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13616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Max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79841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Me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142171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Ran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026934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/>
                        <a:t>Standard devi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34884025"/>
                  </a:ext>
                </a:extLst>
              </a:tr>
            </a:tbl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165E994-37A5-119F-85FB-CB3A1FA48D06}"/>
              </a:ext>
            </a:extLst>
          </p:cNvPr>
          <p:cNvSpPr txBox="1">
            <a:spLocks/>
          </p:cNvSpPr>
          <p:nvPr/>
        </p:nvSpPr>
        <p:spPr>
          <a:xfrm>
            <a:off x="2154936" y="-101219"/>
            <a:ext cx="796747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GIS visualisation </a:t>
            </a: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(work in progress)</a:t>
            </a:r>
            <a:endParaRPr kumimoji="0" lang="en-GB" sz="4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6386501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A5F4AF28-8A8B-D8E8-1E1C-583C0C141DF8}"/>
              </a:ext>
            </a:extLst>
          </p:cNvPr>
          <p:cNvSpPr txBox="1"/>
          <p:nvPr/>
        </p:nvSpPr>
        <p:spPr>
          <a:xfrm>
            <a:off x="1995055" y="242740"/>
            <a:ext cx="831053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4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Urban Flooding using CityCat</a:t>
            </a:r>
          </a:p>
        </p:txBody>
      </p:sp>
      <p:pic>
        <p:nvPicPr>
          <p:cNvPr id="18" name="Picture 17" descr="Map&#10;&#10;Description automatically generated with medium confidence">
            <a:extLst>
              <a:ext uri="{FF2B5EF4-FFF2-40B4-BE49-F238E27FC236}">
                <a16:creationId xmlns:a16="http://schemas.microsoft.com/office/drawing/2014/main" id="{AD760014-9B9B-840C-D156-FB09BAF11BC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7" t="9715" r="64836" b="24855"/>
          <a:stretch/>
        </p:blipFill>
        <p:spPr>
          <a:xfrm>
            <a:off x="211125" y="1091155"/>
            <a:ext cx="2806395" cy="3833183"/>
          </a:xfrm>
          <a:prstGeom prst="rect">
            <a:avLst/>
          </a:prstGeom>
        </p:spPr>
      </p:pic>
      <p:pic>
        <p:nvPicPr>
          <p:cNvPr id="20" name="Picture 19" descr="A picture containing diagram&#10;&#10;Description automatically generated">
            <a:extLst>
              <a:ext uri="{FF2B5EF4-FFF2-40B4-BE49-F238E27FC236}">
                <a16:creationId xmlns:a16="http://schemas.microsoft.com/office/drawing/2014/main" id="{05F74C24-A090-467C-B2A2-10A77EC2C19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3" t="9524" r="65062" b="24082"/>
          <a:stretch/>
        </p:blipFill>
        <p:spPr>
          <a:xfrm>
            <a:off x="2970921" y="1091155"/>
            <a:ext cx="2806395" cy="3900295"/>
          </a:xfrm>
          <a:prstGeom prst="rect">
            <a:avLst/>
          </a:prstGeom>
        </p:spPr>
      </p:pic>
      <p:pic>
        <p:nvPicPr>
          <p:cNvPr id="21" name="Picture 20" descr="Map&#10;&#10;Description automatically generated with medium confidence">
            <a:extLst>
              <a:ext uri="{FF2B5EF4-FFF2-40B4-BE49-F238E27FC236}">
                <a16:creationId xmlns:a16="http://schemas.microsoft.com/office/drawing/2014/main" id="{3278FD28-2391-A82D-2DDC-6D7A51497AA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535" t="8966" r="30598" b="24459"/>
          <a:stretch/>
        </p:blipFill>
        <p:spPr>
          <a:xfrm>
            <a:off x="6189198" y="2307674"/>
            <a:ext cx="2806395" cy="3900295"/>
          </a:xfrm>
          <a:prstGeom prst="rect">
            <a:avLst/>
          </a:prstGeom>
        </p:spPr>
      </p:pic>
      <p:pic>
        <p:nvPicPr>
          <p:cNvPr id="22" name="Picture 21" descr="A picture containing diagram&#10;&#10;Description automatically generated">
            <a:extLst>
              <a:ext uri="{FF2B5EF4-FFF2-40B4-BE49-F238E27FC236}">
                <a16:creationId xmlns:a16="http://schemas.microsoft.com/office/drawing/2014/main" id="{21A12C33-167D-94FB-7DAD-23521DA2A40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67" t="9078" r="31058" b="24528"/>
          <a:stretch/>
        </p:blipFill>
        <p:spPr>
          <a:xfrm>
            <a:off x="8902395" y="2307674"/>
            <a:ext cx="2806395" cy="3900295"/>
          </a:xfrm>
          <a:prstGeom prst="rect">
            <a:avLst/>
          </a:prstGeom>
        </p:spPr>
      </p:pic>
      <p:pic>
        <p:nvPicPr>
          <p:cNvPr id="23" name="Picture 4" descr="See the source image">
            <a:extLst>
              <a:ext uri="{FF2B5EF4-FFF2-40B4-BE49-F238E27FC236}">
                <a16:creationId xmlns:a16="http://schemas.microsoft.com/office/drawing/2014/main" id="{FF52E24B-8F8B-2EB6-CC46-CED517954B5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8548470" flipH="1" flipV="1">
            <a:off x="2048185" y="4526323"/>
            <a:ext cx="1845473" cy="1697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 descr="See the source image">
            <a:extLst>
              <a:ext uri="{FF2B5EF4-FFF2-40B4-BE49-F238E27FC236}">
                <a16:creationId xmlns:a16="http://schemas.microsoft.com/office/drawing/2014/main" id="{406BC719-84DE-1820-A4F2-24BEBE8329A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051530" flipH="1">
            <a:off x="8134109" y="1256915"/>
            <a:ext cx="1845473" cy="16973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992EA66-B76D-886D-CAED-6B176DAA2DEF}"/>
              </a:ext>
            </a:extLst>
          </p:cNvPr>
          <p:cNvSpPr txBox="1"/>
          <p:nvPr/>
        </p:nvSpPr>
        <p:spPr>
          <a:xfrm>
            <a:off x="2352018" y="5842275"/>
            <a:ext cx="1331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0 - 2080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4821593-B743-6702-8D43-C8726C40A625}"/>
              </a:ext>
            </a:extLst>
          </p:cNvPr>
          <p:cNvSpPr txBox="1"/>
          <p:nvPr/>
        </p:nvSpPr>
        <p:spPr>
          <a:xfrm>
            <a:off x="8311788" y="1330082"/>
            <a:ext cx="13310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0 - 2080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D020D66-309F-70D2-5EB3-C0DBCE75DE0D}"/>
              </a:ext>
            </a:extLst>
          </p:cNvPr>
          <p:cNvSpPr txBox="1"/>
          <p:nvPr/>
        </p:nvSpPr>
        <p:spPr>
          <a:xfrm>
            <a:off x="222691" y="1091155"/>
            <a:ext cx="7174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0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AF2377-995F-DB4D-A200-187ABDC198DA}"/>
              </a:ext>
            </a:extLst>
          </p:cNvPr>
          <p:cNvSpPr txBox="1"/>
          <p:nvPr/>
        </p:nvSpPr>
        <p:spPr>
          <a:xfrm>
            <a:off x="3017519" y="1105929"/>
            <a:ext cx="7174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80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E8577E3-DAB5-E3D9-9493-AD92F5B96573}"/>
              </a:ext>
            </a:extLst>
          </p:cNvPr>
          <p:cNvSpPr txBox="1"/>
          <p:nvPr/>
        </p:nvSpPr>
        <p:spPr>
          <a:xfrm>
            <a:off x="6281201" y="2341143"/>
            <a:ext cx="7174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2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61B0F07-0720-A9F1-A19F-B80F5E1FF472}"/>
              </a:ext>
            </a:extLst>
          </p:cNvPr>
          <p:cNvSpPr txBox="1"/>
          <p:nvPr/>
        </p:nvSpPr>
        <p:spPr>
          <a:xfrm>
            <a:off x="9023303" y="2340997"/>
            <a:ext cx="7174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80</a:t>
            </a:r>
          </a:p>
        </p:txBody>
      </p:sp>
    </p:spTree>
    <p:extLst>
      <p:ext uri="{BB962C8B-B14F-4D97-AF65-F5344CB8AC3E}">
        <p14:creationId xmlns:p14="http://schemas.microsoft.com/office/powerpoint/2010/main" val="13925792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7CC89B4-12BB-4AF6-4865-6F30B8BB80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7437" y="657669"/>
            <a:ext cx="3550022" cy="513963"/>
          </a:xfrm>
        </p:spPr>
        <p:txBody>
          <a:bodyPr/>
          <a:lstStyle/>
          <a:p>
            <a:r>
              <a:rPr lang="en-US">
                <a:solidFill>
                  <a:schemeClr val="tx1"/>
                </a:solidFill>
                <a:cs typeface="Calibri"/>
              </a:rPr>
              <a:t>Met Office Data</a:t>
            </a:r>
            <a:endParaRPr lang="en-US">
              <a:solidFill>
                <a:schemeClr val="tx1"/>
              </a:solidFill>
            </a:endParaRPr>
          </a:p>
        </p:txBody>
      </p:sp>
      <p:pic>
        <p:nvPicPr>
          <p:cNvPr id="5" name="Picture 5" descr="Chart&#10;&#10;Description automatically generated">
            <a:extLst>
              <a:ext uri="{FF2B5EF4-FFF2-40B4-BE49-F238E27FC236}">
                <a16:creationId xmlns:a16="http://schemas.microsoft.com/office/drawing/2014/main" id="{D463BFFD-E7C1-8F7C-670B-7FEE5E6BE6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592" y="1592690"/>
            <a:ext cx="5415420" cy="3808317"/>
          </a:xfrm>
          <a:prstGeom prst="rect">
            <a:avLst/>
          </a:prstGeom>
        </p:spPr>
      </p:pic>
      <p:pic>
        <p:nvPicPr>
          <p:cNvPr id="6" name="Picture 6" descr="Chart&#10;&#10;Description automatically generated">
            <a:extLst>
              <a:ext uri="{FF2B5EF4-FFF2-40B4-BE49-F238E27FC236}">
                <a16:creationId xmlns:a16="http://schemas.microsoft.com/office/drawing/2014/main" id="{17C51677-CB78-C508-00DC-F8140EFB3F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27525" y="1593707"/>
            <a:ext cx="5822513" cy="3806284"/>
          </a:xfrm>
          <a:prstGeom prst="rect">
            <a:avLst/>
          </a:prstGeom>
        </p:spPr>
      </p:pic>
      <p:pic>
        <p:nvPicPr>
          <p:cNvPr id="1026" name="Picture 2" descr="Met Office - Wikipedia">
            <a:extLst>
              <a:ext uri="{FF2B5EF4-FFF2-40B4-BE49-F238E27FC236}">
                <a16:creationId xmlns:a16="http://schemas.microsoft.com/office/drawing/2014/main" id="{0F79E524-A668-495F-8473-14E3CA3463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658" y="322048"/>
            <a:ext cx="1017636" cy="1017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41916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Highland Adapt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90B9"/>
      </a:accent1>
      <a:accent2>
        <a:srgbClr val="26B068"/>
      </a:accent2>
      <a:accent3>
        <a:srgbClr val="E9B641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20</Words>
  <Application>Microsoft Office PowerPoint</Application>
  <PresentationFormat>Widescreen</PresentationFormat>
  <Paragraphs>108</Paragraphs>
  <Slides>1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8" baseType="lpstr">
      <vt:lpstr>Abadi</vt:lpstr>
      <vt:lpstr>-apple-system</vt:lpstr>
      <vt:lpstr>Arial</vt:lpstr>
      <vt:lpstr>Avenir Next LT Pro</vt:lpstr>
      <vt:lpstr>Calibri</vt:lpstr>
      <vt:lpstr>Calibri Light</vt:lpstr>
      <vt:lpstr>Century Gothic</vt:lpstr>
      <vt:lpstr>Symbol</vt:lpstr>
      <vt:lpstr>1_Office Theme</vt:lpstr>
      <vt:lpstr>2_Office Theme</vt:lpstr>
      <vt:lpstr>think-cell Slide</vt:lpstr>
      <vt:lpstr>Highland Climate Risk and Opportunity Assessment</vt:lpstr>
      <vt:lpstr>Partnership Objectiv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et Office Data</vt:lpstr>
      <vt:lpstr>Questions?</vt:lpstr>
      <vt:lpstr>PowerPoint Presentation</vt:lpstr>
      <vt:lpstr>PowerPoint Presentation</vt:lpstr>
      <vt:lpstr>PowerPoint Presentation</vt:lpstr>
      <vt:lpstr>https://highlandadapts.commonplace.is</vt:lpstr>
      <vt:lpstr>Risk Assessment Roadmap</vt:lpstr>
      <vt:lpstr>Final Reflections  - Adaptation is an iterative journey  - Adaptation needs to be imbedded in everything we do  - Adaptation = Business continuity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ighland Climate Risk and Opportunity Assessment</dc:title>
  <dc:creator>Kirsty Smailes (Business Management (P&amp;G))</dc:creator>
  <cp:lastModifiedBy>Kirsty Smailes (Business Management (P&amp;G))</cp:lastModifiedBy>
  <cp:revision>1</cp:revision>
  <dcterms:created xsi:type="dcterms:W3CDTF">2023-04-13T11:29:27Z</dcterms:created>
  <dcterms:modified xsi:type="dcterms:W3CDTF">2023-04-13T11:30:20Z</dcterms:modified>
</cp:coreProperties>
</file>